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4003" r:id="rId5"/>
    <p:sldMasterId id="2147484015" r:id="rId6"/>
  </p:sldMasterIdLst>
  <p:notesMasterIdLst>
    <p:notesMasterId r:id="rId13"/>
  </p:notesMasterIdLst>
  <p:handoutMasterIdLst>
    <p:handoutMasterId r:id="rId14"/>
  </p:handoutMasterIdLst>
  <p:sldIdLst>
    <p:sldId id="2146846182" r:id="rId7"/>
    <p:sldId id="2146846137" r:id="rId8"/>
    <p:sldId id="2146846181" r:id="rId9"/>
    <p:sldId id="2146846185" r:id="rId10"/>
    <p:sldId id="2146846183" r:id="rId11"/>
    <p:sldId id="2146846184" r:id="rId12"/>
  </p:sldIdLst>
  <p:sldSz cx="12192000" cy="6858000"/>
  <p:notesSz cx="6858000" cy="9144000"/>
  <p:custDataLst>
    <p:tags r:id="rId15"/>
  </p:custDataLst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3A55"/>
    <a:srgbClr val="A97FF0"/>
    <a:srgbClr val="F9B3B1"/>
    <a:srgbClr val="FCD5D4"/>
    <a:srgbClr val="F4736F"/>
    <a:srgbClr val="FFF599"/>
    <a:srgbClr val="FFE600"/>
    <a:srgbClr val="000000"/>
    <a:srgbClr val="3D108A"/>
    <a:srgbClr val="EBF0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9820E1-AE61-43D5-9C2F-49BB59EAC3E4}" v="58" dt="2022-06-29T20:35:08.480"/>
    <p1510:client id="{4C77071D-4982-442C-B949-072B8C67160F}" v="15" dt="2022-06-29T18:55:28.118"/>
    <p1510:client id="{7534406A-D2EC-4CE2-AEDD-241E677FE91B}" v="20" dt="2022-06-29T15:52:22.3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erine Schifino" userId="37bb67de-9fcf-4611-888c-7e5b58184a2a" providerId="ADAL" clId="{7534406A-D2EC-4CE2-AEDD-241E677FE91B}"/>
    <pc:docChg chg="undo custSel addSld delSld modSld sldOrd">
      <pc:chgData name="Katerine Schifino" userId="37bb67de-9fcf-4611-888c-7e5b58184a2a" providerId="ADAL" clId="{7534406A-D2EC-4CE2-AEDD-241E677FE91B}" dt="2022-06-29T15:55:14.177" v="2003" actId="1076"/>
      <pc:docMkLst>
        <pc:docMk/>
      </pc:docMkLst>
      <pc:sldChg chg="modSp add mod">
        <pc:chgData name="Katerine Schifino" userId="37bb67de-9fcf-4611-888c-7e5b58184a2a" providerId="ADAL" clId="{7534406A-D2EC-4CE2-AEDD-241E677FE91B}" dt="2022-06-28T19:14:16.333" v="31"/>
        <pc:sldMkLst>
          <pc:docMk/>
          <pc:sldMk cId="3576568090" sldId="2146846137"/>
        </pc:sldMkLst>
        <pc:spChg chg="mod">
          <ac:chgData name="Katerine Schifino" userId="37bb67de-9fcf-4611-888c-7e5b58184a2a" providerId="ADAL" clId="{7534406A-D2EC-4CE2-AEDD-241E677FE91B}" dt="2022-06-28T19:13:19.527" v="25"/>
          <ac:spMkLst>
            <pc:docMk/>
            <pc:sldMk cId="3576568090" sldId="2146846137"/>
            <ac:spMk id="6" creationId="{C3E24BFF-A0DB-4ECE-96D3-5EAB937B7323}"/>
          </ac:spMkLst>
        </pc:spChg>
        <pc:graphicFrameChg chg="mod modGraphic">
          <ac:chgData name="Katerine Schifino" userId="37bb67de-9fcf-4611-888c-7e5b58184a2a" providerId="ADAL" clId="{7534406A-D2EC-4CE2-AEDD-241E677FE91B}" dt="2022-06-28T19:14:16.333" v="31"/>
          <ac:graphicFrameMkLst>
            <pc:docMk/>
            <pc:sldMk cId="3576568090" sldId="2146846137"/>
            <ac:graphicFrameMk id="2" creationId="{90C4ECCF-9B28-475A-8668-643F413BD5F2}"/>
          </ac:graphicFrameMkLst>
        </pc:graphicFrameChg>
      </pc:sldChg>
      <pc:sldChg chg="del">
        <pc:chgData name="Katerine Schifino" userId="37bb67de-9fcf-4611-888c-7e5b58184a2a" providerId="ADAL" clId="{7534406A-D2EC-4CE2-AEDD-241E677FE91B}" dt="2022-06-28T19:02:05.075" v="14" actId="47"/>
        <pc:sldMkLst>
          <pc:docMk/>
          <pc:sldMk cId="429413671" sldId="2146846138"/>
        </pc:sldMkLst>
      </pc:sldChg>
      <pc:sldChg chg="del">
        <pc:chgData name="Katerine Schifino" userId="37bb67de-9fcf-4611-888c-7e5b58184a2a" providerId="ADAL" clId="{7534406A-D2EC-4CE2-AEDD-241E677FE91B}" dt="2022-06-28T19:00:23.375" v="1" actId="47"/>
        <pc:sldMkLst>
          <pc:docMk/>
          <pc:sldMk cId="663539748" sldId="2146846147"/>
        </pc:sldMkLst>
      </pc:sldChg>
      <pc:sldChg chg="modSp add mod">
        <pc:chgData name="Katerine Schifino" userId="37bb67de-9fcf-4611-888c-7e5b58184a2a" providerId="ADAL" clId="{7534406A-D2EC-4CE2-AEDD-241E677FE91B}" dt="2022-06-28T19:56:49.185" v="243" actId="14100"/>
        <pc:sldMkLst>
          <pc:docMk/>
          <pc:sldMk cId="2086611496" sldId="2146846181"/>
        </pc:sldMkLst>
        <pc:spChg chg="mod">
          <ac:chgData name="Katerine Schifino" userId="37bb67de-9fcf-4611-888c-7e5b58184a2a" providerId="ADAL" clId="{7534406A-D2EC-4CE2-AEDD-241E677FE91B}" dt="2022-06-28T19:56:49.185" v="243" actId="14100"/>
          <ac:spMkLst>
            <pc:docMk/>
            <pc:sldMk cId="2086611496" sldId="2146846181"/>
            <ac:spMk id="4" creationId="{FC76E031-57AE-42BC-A053-96A2FC870AA8}"/>
          </ac:spMkLst>
        </pc:spChg>
      </pc:sldChg>
      <pc:sldChg chg="delSp modSp add mod ord">
        <pc:chgData name="Katerine Schifino" userId="37bb67de-9fcf-4611-888c-7e5b58184a2a" providerId="ADAL" clId="{7534406A-D2EC-4CE2-AEDD-241E677FE91B}" dt="2022-06-28T20:17:45.166" v="1962" actId="20577"/>
        <pc:sldMkLst>
          <pc:docMk/>
          <pc:sldMk cId="3423180583" sldId="2146846182"/>
        </pc:sldMkLst>
        <pc:spChg chg="mod">
          <ac:chgData name="Katerine Schifino" userId="37bb67de-9fcf-4611-888c-7e5b58184a2a" providerId="ADAL" clId="{7534406A-D2EC-4CE2-AEDD-241E677FE91B}" dt="2022-06-28T19:13:14.307" v="24" actId="21"/>
          <ac:spMkLst>
            <pc:docMk/>
            <pc:sldMk cId="3423180583" sldId="2146846182"/>
            <ac:spMk id="6" creationId="{C3E24BFF-A0DB-4ECE-96D3-5EAB937B7323}"/>
          </ac:spMkLst>
        </pc:spChg>
        <pc:spChg chg="del">
          <ac:chgData name="Katerine Schifino" userId="37bb67de-9fcf-4611-888c-7e5b58184a2a" providerId="ADAL" clId="{7534406A-D2EC-4CE2-AEDD-241E677FE91B}" dt="2022-06-28T19:12:50.012" v="18" actId="478"/>
          <ac:spMkLst>
            <pc:docMk/>
            <pc:sldMk cId="3423180583" sldId="2146846182"/>
            <ac:spMk id="7" creationId="{9B3DE356-A217-4930-B091-FDA68F880392}"/>
          </ac:spMkLst>
        </pc:spChg>
        <pc:spChg chg="mod">
          <ac:chgData name="Katerine Schifino" userId="37bb67de-9fcf-4611-888c-7e5b58184a2a" providerId="ADAL" clId="{7534406A-D2EC-4CE2-AEDD-241E677FE91B}" dt="2022-06-28T20:17:45.166" v="1962" actId="20577"/>
          <ac:spMkLst>
            <pc:docMk/>
            <pc:sldMk cId="3423180583" sldId="2146846182"/>
            <ac:spMk id="8" creationId="{F3692B0D-82AC-41A6-A5BD-1A4B9AC9B985}"/>
          </ac:spMkLst>
        </pc:spChg>
        <pc:picChg chg="mod">
          <ac:chgData name="Katerine Schifino" userId="37bb67de-9fcf-4611-888c-7e5b58184a2a" providerId="ADAL" clId="{7534406A-D2EC-4CE2-AEDD-241E677FE91B}" dt="2022-06-28T19:56:16.578" v="174" actId="1076"/>
          <ac:picMkLst>
            <pc:docMk/>
            <pc:sldMk cId="3423180583" sldId="2146846182"/>
            <ac:picMk id="4098" creationId="{D1D0FC29-B937-45E1-8F7D-DDBCFA643DFA}"/>
          </ac:picMkLst>
        </pc:picChg>
      </pc:sldChg>
      <pc:sldChg chg="addSp delSp modSp add mod">
        <pc:chgData name="Katerine Schifino" userId="37bb67de-9fcf-4611-888c-7e5b58184a2a" providerId="ADAL" clId="{7534406A-D2EC-4CE2-AEDD-241E677FE91B}" dt="2022-06-28T20:05:52.455" v="1537" actId="255"/>
        <pc:sldMkLst>
          <pc:docMk/>
          <pc:sldMk cId="507185931" sldId="2146846183"/>
        </pc:sldMkLst>
        <pc:spChg chg="mod">
          <ac:chgData name="Katerine Schifino" userId="37bb67de-9fcf-4611-888c-7e5b58184a2a" providerId="ADAL" clId="{7534406A-D2EC-4CE2-AEDD-241E677FE91B}" dt="2022-06-28T19:57:01.694" v="262" actId="20577"/>
          <ac:spMkLst>
            <pc:docMk/>
            <pc:sldMk cId="507185931" sldId="2146846183"/>
            <ac:spMk id="4" creationId="{FC76E031-57AE-42BC-A053-96A2FC870AA8}"/>
          </ac:spMkLst>
        </pc:spChg>
        <pc:spChg chg="add mod">
          <ac:chgData name="Katerine Schifino" userId="37bb67de-9fcf-4611-888c-7e5b58184a2a" providerId="ADAL" clId="{7534406A-D2EC-4CE2-AEDD-241E677FE91B}" dt="2022-06-28T20:05:52.455" v="1537" actId="255"/>
          <ac:spMkLst>
            <pc:docMk/>
            <pc:sldMk cId="507185931" sldId="2146846183"/>
            <ac:spMk id="5" creationId="{6E49E39F-F76B-4529-AA0D-759FC5E76058}"/>
          </ac:spMkLst>
        </pc:spChg>
        <pc:spChg chg="add del mod">
          <ac:chgData name="Katerine Schifino" userId="37bb67de-9fcf-4611-888c-7e5b58184a2a" providerId="ADAL" clId="{7534406A-D2EC-4CE2-AEDD-241E677FE91B}" dt="2022-06-28T20:05:11.059" v="1528" actId="478"/>
          <ac:spMkLst>
            <pc:docMk/>
            <pc:sldMk cId="507185931" sldId="2146846183"/>
            <ac:spMk id="6" creationId="{0A517DF4-1816-4D94-8554-7D5EE68F9C77}"/>
          </ac:spMkLst>
        </pc:spChg>
        <pc:graphicFrameChg chg="del">
          <ac:chgData name="Katerine Schifino" userId="37bb67de-9fcf-4611-888c-7e5b58184a2a" providerId="ADAL" clId="{7534406A-D2EC-4CE2-AEDD-241E677FE91B}" dt="2022-06-28T19:56:55.167" v="245" actId="478"/>
          <ac:graphicFrameMkLst>
            <pc:docMk/>
            <pc:sldMk cId="507185931" sldId="2146846183"/>
            <ac:graphicFrameMk id="3" creationId="{D2BC709B-5E79-4CCF-A0A4-C614AA750396}"/>
          </ac:graphicFrameMkLst>
        </pc:graphicFrameChg>
      </pc:sldChg>
      <pc:sldChg chg="delSp modSp add mod">
        <pc:chgData name="Katerine Schifino" userId="37bb67de-9fcf-4611-888c-7e5b58184a2a" providerId="ADAL" clId="{7534406A-D2EC-4CE2-AEDD-241E677FE91B}" dt="2022-06-28T20:17:23.593" v="1955" actId="207"/>
        <pc:sldMkLst>
          <pc:docMk/>
          <pc:sldMk cId="1782819611" sldId="2146846184"/>
        </pc:sldMkLst>
        <pc:spChg chg="mod">
          <ac:chgData name="Katerine Schifino" userId="37bb67de-9fcf-4611-888c-7e5b58184a2a" providerId="ADAL" clId="{7534406A-D2EC-4CE2-AEDD-241E677FE91B}" dt="2022-06-28T20:06:19.317" v="1568" actId="20577"/>
          <ac:spMkLst>
            <pc:docMk/>
            <pc:sldMk cId="1782819611" sldId="2146846184"/>
            <ac:spMk id="4" creationId="{FC76E031-57AE-42BC-A053-96A2FC870AA8}"/>
          </ac:spMkLst>
        </pc:spChg>
        <pc:spChg chg="del">
          <ac:chgData name="Katerine Schifino" userId="37bb67de-9fcf-4611-888c-7e5b58184a2a" providerId="ADAL" clId="{7534406A-D2EC-4CE2-AEDD-241E677FE91B}" dt="2022-06-28T20:06:11.615" v="1538" actId="478"/>
          <ac:spMkLst>
            <pc:docMk/>
            <pc:sldMk cId="1782819611" sldId="2146846184"/>
            <ac:spMk id="5" creationId="{6E49E39F-F76B-4529-AA0D-759FC5E76058}"/>
          </ac:spMkLst>
        </pc:spChg>
        <pc:spChg chg="mod">
          <ac:chgData name="Katerine Schifino" userId="37bb67de-9fcf-4611-888c-7e5b58184a2a" providerId="ADAL" clId="{7534406A-D2EC-4CE2-AEDD-241E677FE91B}" dt="2022-06-28T20:17:23.593" v="1955" actId="207"/>
          <ac:spMkLst>
            <pc:docMk/>
            <pc:sldMk cId="1782819611" sldId="2146846184"/>
            <ac:spMk id="6" creationId="{0A517DF4-1816-4D94-8554-7D5EE68F9C77}"/>
          </ac:spMkLst>
        </pc:spChg>
      </pc:sldChg>
      <pc:sldChg chg="addSp delSp modSp add mod modAnim">
        <pc:chgData name="Katerine Schifino" userId="37bb67de-9fcf-4611-888c-7e5b58184a2a" providerId="ADAL" clId="{7534406A-D2EC-4CE2-AEDD-241E677FE91B}" dt="2022-06-29T15:55:14.177" v="2003" actId="1076"/>
        <pc:sldMkLst>
          <pc:docMk/>
          <pc:sldMk cId="3329905440" sldId="2146846185"/>
        </pc:sldMkLst>
        <pc:spChg chg="mod">
          <ac:chgData name="Katerine Schifino" userId="37bb67de-9fcf-4611-888c-7e5b58184a2a" providerId="ADAL" clId="{7534406A-D2EC-4CE2-AEDD-241E677FE91B}" dt="2022-06-28T22:08:23.216" v="1986" actId="20577"/>
          <ac:spMkLst>
            <pc:docMk/>
            <pc:sldMk cId="3329905440" sldId="2146846185"/>
            <ac:spMk id="4" creationId="{FC76E031-57AE-42BC-A053-96A2FC870AA8}"/>
          </ac:spMkLst>
        </pc:spChg>
        <pc:spChg chg="add del mod">
          <ac:chgData name="Katerine Schifino" userId="37bb67de-9fcf-4611-888c-7e5b58184a2a" providerId="ADAL" clId="{7534406A-D2EC-4CE2-AEDD-241E677FE91B}" dt="2022-06-28T20:27:42.391" v="1978" actId="478"/>
          <ac:spMkLst>
            <pc:docMk/>
            <pc:sldMk cId="3329905440" sldId="2146846185"/>
            <ac:spMk id="6" creationId="{702089AE-7B73-4560-82C6-07D4E7059F87}"/>
          </ac:spMkLst>
        </pc:spChg>
        <pc:graphicFrameChg chg="del">
          <ac:chgData name="Katerine Schifino" userId="37bb67de-9fcf-4611-888c-7e5b58184a2a" providerId="ADAL" clId="{7534406A-D2EC-4CE2-AEDD-241E677FE91B}" dt="2022-06-28T20:17:58.368" v="1964" actId="478"/>
          <ac:graphicFrameMkLst>
            <pc:docMk/>
            <pc:sldMk cId="3329905440" sldId="2146846185"/>
            <ac:graphicFrameMk id="3" creationId="{D2BC709B-5E79-4CCF-A0A4-C614AA750396}"/>
          </ac:graphicFrameMkLst>
        </pc:graphicFrame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2" creationId="{743D9FB4-5C0C-4C1C-84A0-C639CA6645D2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3" creationId="{AEBF1517-1E52-478E-BCFA-AF0D342D9D3D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5" creationId="{1CF21A32-10D3-47AD-8D0A-4FC8BC43668A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6" creationId="{F6E2060B-E7DA-4880-A52E-7E0641B64C6D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7" creationId="{AE2C3492-883E-43A1-80BC-CF75C2934946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8" creationId="{0B15FACB-28EA-4996-BA2C-F88AE114809C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9" creationId="{05BC2E2A-2BC3-46DA-8B39-6E5ABAAC13EE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10" creationId="{3FF69355-1675-4F5A-BA53-B502670F5250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11" creationId="{D935E7FC-BC76-4ADC-84E7-B66D95EC6B77}"/>
          </ac:picMkLst>
        </pc:picChg>
      </pc:sldChg>
      <pc:sldChg chg="del">
        <pc:chgData name="Katerine Schifino" userId="37bb67de-9fcf-4611-888c-7e5b58184a2a" providerId="ADAL" clId="{7534406A-D2EC-4CE2-AEDD-241E677FE91B}" dt="2022-06-28T19:00:23.628" v="2" actId="47"/>
        <pc:sldMkLst>
          <pc:docMk/>
          <pc:sldMk cId="1081149190" sldId="2146846189"/>
        </pc:sldMkLst>
      </pc:sldChg>
      <pc:sldChg chg="del">
        <pc:chgData name="Katerine Schifino" userId="37bb67de-9fcf-4611-888c-7e5b58184a2a" providerId="ADAL" clId="{7534406A-D2EC-4CE2-AEDD-241E677FE91B}" dt="2022-06-28T19:00:23.829" v="3" actId="47"/>
        <pc:sldMkLst>
          <pc:docMk/>
          <pc:sldMk cId="3146685949" sldId="2146846191"/>
        </pc:sldMkLst>
      </pc:sldChg>
      <pc:sldChg chg="del">
        <pc:chgData name="Katerine Schifino" userId="37bb67de-9fcf-4611-888c-7e5b58184a2a" providerId="ADAL" clId="{7534406A-D2EC-4CE2-AEDD-241E677FE91B}" dt="2022-06-28T19:00:23.999" v="4" actId="47"/>
        <pc:sldMkLst>
          <pc:docMk/>
          <pc:sldMk cId="2968486713" sldId="2146846192"/>
        </pc:sldMkLst>
      </pc:sldChg>
      <pc:sldChg chg="del">
        <pc:chgData name="Katerine Schifino" userId="37bb67de-9fcf-4611-888c-7e5b58184a2a" providerId="ADAL" clId="{7534406A-D2EC-4CE2-AEDD-241E677FE91B}" dt="2022-06-28T19:00:24.145" v="5" actId="47"/>
        <pc:sldMkLst>
          <pc:docMk/>
          <pc:sldMk cId="1662542093" sldId="2146846193"/>
        </pc:sldMkLst>
      </pc:sldChg>
      <pc:sldChg chg="del">
        <pc:chgData name="Katerine Schifino" userId="37bb67de-9fcf-4611-888c-7e5b58184a2a" providerId="ADAL" clId="{7534406A-D2EC-4CE2-AEDD-241E677FE91B}" dt="2022-06-28T19:00:24.311" v="6" actId="47"/>
        <pc:sldMkLst>
          <pc:docMk/>
          <pc:sldMk cId="183766731" sldId="2146846194"/>
        </pc:sldMkLst>
      </pc:sldChg>
      <pc:sldChg chg="del">
        <pc:chgData name="Katerine Schifino" userId="37bb67de-9fcf-4611-888c-7e5b58184a2a" providerId="ADAL" clId="{7534406A-D2EC-4CE2-AEDD-241E677FE91B}" dt="2022-06-28T19:00:24.630" v="7" actId="47"/>
        <pc:sldMkLst>
          <pc:docMk/>
          <pc:sldMk cId="1701351180" sldId="2146846200"/>
        </pc:sldMkLst>
      </pc:sldChg>
      <pc:sldChg chg="del">
        <pc:chgData name="Katerine Schifino" userId="37bb67de-9fcf-4611-888c-7e5b58184a2a" providerId="ADAL" clId="{7534406A-D2EC-4CE2-AEDD-241E677FE91B}" dt="2022-06-28T19:00:25.079" v="8" actId="47"/>
        <pc:sldMkLst>
          <pc:docMk/>
          <pc:sldMk cId="3562627161" sldId="2146846201"/>
        </pc:sldMkLst>
      </pc:sldChg>
      <pc:sldChg chg="del">
        <pc:chgData name="Katerine Schifino" userId="37bb67de-9fcf-4611-888c-7e5b58184a2a" providerId="ADAL" clId="{7534406A-D2EC-4CE2-AEDD-241E677FE91B}" dt="2022-06-28T19:00:25.370" v="9" actId="47"/>
        <pc:sldMkLst>
          <pc:docMk/>
          <pc:sldMk cId="3690015844" sldId="2146846202"/>
        </pc:sldMkLst>
      </pc:sldChg>
      <pc:sldChg chg="del">
        <pc:chgData name="Katerine Schifino" userId="37bb67de-9fcf-4611-888c-7e5b58184a2a" providerId="ADAL" clId="{7534406A-D2EC-4CE2-AEDD-241E677FE91B}" dt="2022-06-28T19:00:25.587" v="10" actId="47"/>
        <pc:sldMkLst>
          <pc:docMk/>
          <pc:sldMk cId="3562794010" sldId="2146846203"/>
        </pc:sldMkLst>
      </pc:sldChg>
      <pc:sldChg chg="del">
        <pc:chgData name="Katerine Schifino" userId="37bb67de-9fcf-4611-888c-7e5b58184a2a" providerId="ADAL" clId="{7534406A-D2EC-4CE2-AEDD-241E677FE91B}" dt="2022-06-28T19:01:42.610" v="12" actId="47"/>
        <pc:sldMkLst>
          <pc:docMk/>
          <pc:sldMk cId="3261464579" sldId="2146846204"/>
        </pc:sldMkLst>
      </pc:sldChg>
    </pc:docChg>
  </pc:docChgLst>
  <pc:docChgLst>
    <pc:chgData name="Stacy Unongo" userId="c539233b-2f8d-4ba7-9131-54d319c95f15" providerId="ADAL" clId="{419820E1-AE61-43D5-9C2F-49BB59EAC3E4}"/>
    <pc:docChg chg="custSel modSld">
      <pc:chgData name="Stacy Unongo" userId="c539233b-2f8d-4ba7-9131-54d319c95f15" providerId="ADAL" clId="{419820E1-AE61-43D5-9C2F-49BB59EAC3E4}" dt="2022-06-29T20:35:08.480" v="27" actId="13926"/>
      <pc:docMkLst>
        <pc:docMk/>
      </pc:docMkLst>
      <pc:sldChg chg="modSp mod">
        <pc:chgData name="Stacy Unongo" userId="c539233b-2f8d-4ba7-9131-54d319c95f15" providerId="ADAL" clId="{419820E1-AE61-43D5-9C2F-49BB59EAC3E4}" dt="2022-06-29T20:31:56.644" v="18" actId="20577"/>
        <pc:sldMkLst>
          <pc:docMk/>
          <pc:sldMk cId="2086611496" sldId="2146846181"/>
        </pc:sldMkLst>
        <pc:spChg chg="mod">
          <ac:chgData name="Stacy Unongo" userId="c539233b-2f8d-4ba7-9131-54d319c95f15" providerId="ADAL" clId="{419820E1-AE61-43D5-9C2F-49BB59EAC3E4}" dt="2022-06-29T20:31:56.644" v="18" actId="20577"/>
          <ac:spMkLst>
            <pc:docMk/>
            <pc:sldMk cId="2086611496" sldId="2146846181"/>
            <ac:spMk id="4" creationId="{FC76E031-57AE-42BC-A053-96A2FC870AA8}"/>
          </ac:spMkLst>
        </pc:spChg>
        <pc:graphicFrameChg chg="mod">
          <ac:chgData name="Stacy Unongo" userId="c539233b-2f8d-4ba7-9131-54d319c95f15" providerId="ADAL" clId="{419820E1-AE61-43D5-9C2F-49BB59EAC3E4}" dt="2022-06-29T20:31:49.032" v="16" actId="20577"/>
          <ac:graphicFrameMkLst>
            <pc:docMk/>
            <pc:sldMk cId="2086611496" sldId="2146846181"/>
            <ac:graphicFrameMk id="3" creationId="{D2BC709B-5E79-4CCF-A0A4-C614AA750396}"/>
          </ac:graphicFrameMkLst>
        </pc:graphicFrameChg>
      </pc:sldChg>
      <pc:sldChg chg="modSp mod">
        <pc:chgData name="Stacy Unongo" userId="c539233b-2f8d-4ba7-9131-54d319c95f15" providerId="ADAL" clId="{419820E1-AE61-43D5-9C2F-49BB59EAC3E4}" dt="2022-06-29T20:35:08.480" v="27" actId="13926"/>
        <pc:sldMkLst>
          <pc:docMk/>
          <pc:sldMk cId="507185931" sldId="2146846183"/>
        </pc:sldMkLst>
        <pc:spChg chg="mod">
          <ac:chgData name="Stacy Unongo" userId="c539233b-2f8d-4ba7-9131-54d319c95f15" providerId="ADAL" clId="{419820E1-AE61-43D5-9C2F-49BB59EAC3E4}" dt="2022-06-29T20:34:19.980" v="24"/>
          <ac:spMkLst>
            <pc:docMk/>
            <pc:sldMk cId="507185931" sldId="2146846183"/>
            <ac:spMk id="4" creationId="{FC76E031-57AE-42BC-A053-96A2FC870AA8}"/>
          </ac:spMkLst>
        </pc:spChg>
        <pc:spChg chg="mod">
          <ac:chgData name="Stacy Unongo" userId="c539233b-2f8d-4ba7-9131-54d319c95f15" providerId="ADAL" clId="{419820E1-AE61-43D5-9C2F-49BB59EAC3E4}" dt="2022-06-29T20:35:08.480" v="27" actId="13926"/>
          <ac:spMkLst>
            <pc:docMk/>
            <pc:sldMk cId="507185931" sldId="2146846183"/>
            <ac:spMk id="5" creationId="{6E49E39F-F76B-4529-AA0D-759FC5E76058}"/>
          </ac:spMkLst>
        </pc:spChg>
      </pc:sldChg>
      <pc:sldChg chg="modSp mod">
        <pc:chgData name="Stacy Unongo" userId="c539233b-2f8d-4ba7-9131-54d319c95f15" providerId="ADAL" clId="{419820E1-AE61-43D5-9C2F-49BB59EAC3E4}" dt="2022-06-29T20:34:15.992" v="23" actId="20577"/>
        <pc:sldMkLst>
          <pc:docMk/>
          <pc:sldMk cId="1782819611" sldId="2146846184"/>
        </pc:sldMkLst>
        <pc:spChg chg="mod">
          <ac:chgData name="Stacy Unongo" userId="c539233b-2f8d-4ba7-9131-54d319c95f15" providerId="ADAL" clId="{419820E1-AE61-43D5-9C2F-49BB59EAC3E4}" dt="2022-06-29T20:34:15.992" v="23" actId="20577"/>
          <ac:spMkLst>
            <pc:docMk/>
            <pc:sldMk cId="1782819611" sldId="2146846184"/>
            <ac:spMk id="4" creationId="{FC76E031-57AE-42BC-A053-96A2FC870AA8}"/>
          </ac:spMkLst>
        </pc:spChg>
        <pc:spChg chg="mod">
          <ac:chgData name="Stacy Unongo" userId="c539233b-2f8d-4ba7-9131-54d319c95f15" providerId="ADAL" clId="{419820E1-AE61-43D5-9C2F-49BB59EAC3E4}" dt="2022-06-29T20:34:10.894" v="21" actId="20577"/>
          <ac:spMkLst>
            <pc:docMk/>
            <pc:sldMk cId="1782819611" sldId="2146846184"/>
            <ac:spMk id="6" creationId="{0A517DF4-1816-4D94-8554-7D5EE68F9C77}"/>
          </ac:spMkLst>
        </pc:spChg>
      </pc:sldChg>
    </pc:docChg>
  </pc:docChgLst>
  <pc:docChgLst>
    <pc:chgData name="Katerine Schifino" userId="37bb67de-9fcf-4611-888c-7e5b58184a2a" providerId="ADAL" clId="{C66116D1-FF33-4208-A776-57FC8BAF96E0}"/>
    <pc:docChg chg="undo redo custSel addSld delSld modSld">
      <pc:chgData name="Katerine Schifino" userId="37bb67de-9fcf-4611-888c-7e5b58184a2a" providerId="ADAL" clId="{C66116D1-FF33-4208-A776-57FC8BAF96E0}" dt="2022-06-01T22:16:25.124" v="2116" actId="20577"/>
      <pc:docMkLst>
        <pc:docMk/>
      </pc:docMkLst>
      <pc:sldChg chg="addSp delSp modSp mod">
        <pc:chgData name="Katerine Schifino" userId="37bb67de-9fcf-4611-888c-7e5b58184a2a" providerId="ADAL" clId="{C66116D1-FF33-4208-A776-57FC8BAF96E0}" dt="2022-06-01T20:36:26.935" v="158" actId="478"/>
        <pc:sldMkLst>
          <pc:docMk/>
          <pc:sldMk cId="3592422974" sldId="2080108014"/>
        </pc:sldMkLst>
        <pc:spChg chg="add del mod">
          <ac:chgData name="Katerine Schifino" userId="37bb67de-9fcf-4611-888c-7e5b58184a2a" providerId="ADAL" clId="{C66116D1-FF33-4208-A776-57FC8BAF96E0}" dt="2022-06-01T20:36:26.935" v="158" actId="478"/>
          <ac:spMkLst>
            <pc:docMk/>
            <pc:sldMk cId="3592422974" sldId="2080108014"/>
            <ac:spMk id="13" creationId="{E60EF041-A5F5-458B-99F4-FA02CB9E5BD3}"/>
          </ac:spMkLst>
        </pc:spChg>
        <pc:picChg chg="add del mod">
          <ac:chgData name="Katerine Schifino" userId="37bb67de-9fcf-4611-888c-7e5b58184a2a" providerId="ADAL" clId="{C66116D1-FF33-4208-A776-57FC8BAF96E0}" dt="2022-06-01T20:36:26.935" v="158" actId="478"/>
          <ac:picMkLst>
            <pc:docMk/>
            <pc:sldMk cId="3592422974" sldId="2080108014"/>
            <ac:picMk id="12" creationId="{37C56431-AFF0-4E38-B164-335F0E6569E6}"/>
          </ac:picMkLst>
        </pc:picChg>
      </pc:sldChg>
      <pc:sldChg chg="addSp delSp modSp mod">
        <pc:chgData name="Katerine Schifino" userId="37bb67de-9fcf-4611-888c-7e5b58184a2a" providerId="ADAL" clId="{C66116D1-FF33-4208-A776-57FC8BAF96E0}" dt="2022-06-01T20:34:06.126" v="70" actId="21"/>
        <pc:sldMkLst>
          <pc:docMk/>
          <pc:sldMk cId="3114610397" sldId="2080108169"/>
        </pc:sldMkLst>
        <pc:spChg chg="add del mod">
          <ac:chgData name="Katerine Schifino" userId="37bb67de-9fcf-4611-888c-7e5b58184a2a" providerId="ADAL" clId="{C66116D1-FF33-4208-A776-57FC8BAF96E0}" dt="2022-06-01T20:34:06.126" v="70" actId="21"/>
          <ac:spMkLst>
            <pc:docMk/>
            <pc:sldMk cId="3114610397" sldId="2080108169"/>
            <ac:spMk id="21" creationId="{F8991E1E-9EF1-4359-9C0A-BF1A5C117B19}"/>
          </ac:spMkLst>
        </pc:spChg>
        <pc:picChg chg="add del">
          <ac:chgData name="Katerine Schifino" userId="37bb67de-9fcf-4611-888c-7e5b58184a2a" providerId="ADAL" clId="{C66116D1-FF33-4208-A776-57FC8BAF96E0}" dt="2022-06-01T20:34:06.126" v="70" actId="21"/>
          <ac:picMkLst>
            <pc:docMk/>
            <pc:sldMk cId="3114610397" sldId="2080108169"/>
            <ac:picMk id="15" creationId="{34F173C5-BBE8-4F04-BBD2-C0B853B3DA10}"/>
          </ac:picMkLst>
        </pc:picChg>
      </pc:sldChg>
      <pc:sldChg chg="modSp mod">
        <pc:chgData name="Katerine Schifino" userId="37bb67de-9fcf-4611-888c-7e5b58184a2a" providerId="ADAL" clId="{C66116D1-FF33-4208-A776-57FC8BAF96E0}" dt="2022-06-01T22:06:30.636" v="1951" actId="20577"/>
        <pc:sldMkLst>
          <pc:docMk/>
          <pc:sldMk cId="3576568090" sldId="2146846137"/>
        </pc:sldMkLst>
        <pc:spChg chg="mod">
          <ac:chgData name="Katerine Schifino" userId="37bb67de-9fcf-4611-888c-7e5b58184a2a" providerId="ADAL" clId="{C66116D1-FF33-4208-A776-57FC8BAF96E0}" dt="2022-06-01T22:06:30.636" v="1951" actId="20577"/>
          <ac:spMkLst>
            <pc:docMk/>
            <pc:sldMk cId="3576568090" sldId="2146846137"/>
            <ac:spMk id="6" creationId="{C3E24BFF-A0DB-4ECE-96D3-5EAB937B7323}"/>
          </ac:spMkLst>
        </pc:spChg>
      </pc:sldChg>
      <pc:sldChg chg="addSp delSp modSp mod">
        <pc:chgData name="Katerine Schifino" userId="37bb67de-9fcf-4611-888c-7e5b58184a2a" providerId="ADAL" clId="{C66116D1-FF33-4208-A776-57FC8BAF96E0}" dt="2022-06-01T22:16:25.124" v="2116" actId="20577"/>
        <pc:sldMkLst>
          <pc:docMk/>
          <pc:sldMk cId="1553596990" sldId="2146846138"/>
        </pc:sldMkLst>
        <pc:spChg chg="mod">
          <ac:chgData name="Katerine Schifino" userId="37bb67de-9fcf-4611-888c-7e5b58184a2a" providerId="ADAL" clId="{C66116D1-FF33-4208-A776-57FC8BAF96E0}" dt="2022-06-01T22:16:25.124" v="2116" actId="20577"/>
          <ac:spMkLst>
            <pc:docMk/>
            <pc:sldMk cId="1553596990" sldId="2146846138"/>
            <ac:spMk id="3" creationId="{FEA9F600-57E1-444E-9B65-D38B4F85ADE7}"/>
          </ac:spMkLst>
        </pc:spChg>
        <pc:picChg chg="del">
          <ac:chgData name="Katerine Schifino" userId="37bb67de-9fcf-4611-888c-7e5b58184a2a" providerId="ADAL" clId="{C66116D1-FF33-4208-A776-57FC8BAF96E0}" dt="2022-06-01T22:16:06.755" v="2109" actId="478"/>
          <ac:picMkLst>
            <pc:docMk/>
            <pc:sldMk cId="1553596990" sldId="2146846138"/>
            <ac:picMk id="5" creationId="{F2736BDF-AA06-4AF1-956C-3C3044EADD66}"/>
          </ac:picMkLst>
        </pc:picChg>
        <pc:picChg chg="add mod">
          <ac:chgData name="Katerine Schifino" userId="37bb67de-9fcf-4611-888c-7e5b58184a2a" providerId="ADAL" clId="{C66116D1-FF33-4208-A776-57FC8BAF96E0}" dt="2022-06-01T22:16:21.139" v="2113" actId="27614"/>
          <ac:picMkLst>
            <pc:docMk/>
            <pc:sldMk cId="1553596990" sldId="2146846138"/>
            <ac:picMk id="6" creationId="{3DC75079-5F8F-47D7-8D9B-B8FA87B630F7}"/>
          </ac:picMkLst>
        </pc:picChg>
      </pc:sldChg>
      <pc:sldChg chg="addSp delSp modSp mod">
        <pc:chgData name="Katerine Schifino" userId="37bb67de-9fcf-4611-888c-7e5b58184a2a" providerId="ADAL" clId="{C66116D1-FF33-4208-A776-57FC8BAF96E0}" dt="2022-06-01T20:37:35.366" v="166" actId="12"/>
        <pc:sldMkLst>
          <pc:docMk/>
          <pc:sldMk cId="3440500009" sldId="2146846144"/>
        </pc:sldMkLst>
        <pc:spChg chg="mod">
          <ac:chgData name="Katerine Schifino" userId="37bb67de-9fcf-4611-888c-7e5b58184a2a" providerId="ADAL" clId="{C66116D1-FF33-4208-A776-57FC8BAF96E0}" dt="2022-06-01T20:37:35.366" v="166" actId="12"/>
          <ac:spMkLst>
            <pc:docMk/>
            <pc:sldMk cId="3440500009" sldId="2146846144"/>
            <ac:spMk id="7" creationId="{B0290C45-3A24-4347-9573-04B02FDC4684}"/>
          </ac:spMkLst>
        </pc:spChg>
        <pc:graphicFrameChg chg="mod">
          <ac:chgData name="Katerine Schifino" userId="37bb67de-9fcf-4611-888c-7e5b58184a2a" providerId="ADAL" clId="{C66116D1-FF33-4208-A776-57FC8BAF96E0}" dt="2022-06-01T20:32:28.679" v="60" actId="2084"/>
          <ac:graphicFrameMkLst>
            <pc:docMk/>
            <pc:sldMk cId="3440500009" sldId="2146846144"/>
            <ac:graphicFrameMk id="2" creationId="{C27C56E9-D20A-43EE-B6B4-67FF1334D687}"/>
          </ac:graphicFrameMkLst>
        </pc:graphicFrameChg>
        <pc:graphicFrameChg chg="add del mod modGraphic">
          <ac:chgData name="Katerine Schifino" userId="37bb67de-9fcf-4611-888c-7e5b58184a2a" providerId="ADAL" clId="{C66116D1-FF33-4208-A776-57FC8BAF96E0}" dt="2022-06-01T20:36:24.967" v="156" actId="1032"/>
          <ac:graphicFrameMkLst>
            <pc:docMk/>
            <pc:sldMk cId="3440500009" sldId="2146846144"/>
            <ac:graphicFrameMk id="4" creationId="{4E53820B-0AED-4296-9967-D94A2765A4CE}"/>
          </ac:graphicFrameMkLst>
        </pc:graphicFrameChg>
        <pc:picChg chg="add del mod">
          <ac:chgData name="Katerine Schifino" userId="37bb67de-9fcf-4611-888c-7e5b58184a2a" providerId="ADAL" clId="{C66116D1-FF33-4208-A776-57FC8BAF96E0}" dt="2022-06-01T20:28:31.915" v="25" actId="478"/>
          <ac:picMkLst>
            <pc:docMk/>
            <pc:sldMk cId="3440500009" sldId="2146846144"/>
            <ac:picMk id="7170" creationId="{90DF7CF2-C543-43CA-8705-33A9258B454B}"/>
          </ac:picMkLst>
        </pc:picChg>
        <pc:picChg chg="add del mod">
          <ac:chgData name="Katerine Schifino" userId="37bb67de-9fcf-4611-888c-7e5b58184a2a" providerId="ADAL" clId="{C66116D1-FF33-4208-A776-57FC8BAF96E0}" dt="2022-06-01T20:31:07.315" v="38" actId="478"/>
          <ac:picMkLst>
            <pc:docMk/>
            <pc:sldMk cId="3440500009" sldId="2146846144"/>
            <ac:picMk id="7172" creationId="{6B969545-F8F7-45A2-B7BC-D975198FBAE8}"/>
          </ac:picMkLst>
        </pc:picChg>
        <pc:picChg chg="add mod">
          <ac:chgData name="Katerine Schifino" userId="37bb67de-9fcf-4611-888c-7e5b58184a2a" providerId="ADAL" clId="{C66116D1-FF33-4208-A776-57FC8BAF96E0}" dt="2022-06-01T20:32:23.244" v="58" actId="1076"/>
          <ac:picMkLst>
            <pc:docMk/>
            <pc:sldMk cId="3440500009" sldId="2146846144"/>
            <ac:picMk id="7174" creationId="{F805AC25-F286-4FDB-847B-2CD22778F970}"/>
          </ac:picMkLst>
        </pc:picChg>
        <pc:picChg chg="add mod">
          <ac:chgData name="Katerine Schifino" userId="37bb67de-9fcf-4611-888c-7e5b58184a2a" providerId="ADAL" clId="{C66116D1-FF33-4208-A776-57FC8BAF96E0}" dt="2022-06-01T20:32:06.908" v="52" actId="1076"/>
          <ac:picMkLst>
            <pc:docMk/>
            <pc:sldMk cId="3440500009" sldId="2146846144"/>
            <ac:picMk id="7176" creationId="{F3E1C0CD-E4B4-4563-9E83-4EEE3C5764D6}"/>
          </ac:picMkLst>
        </pc:picChg>
        <pc:picChg chg="add mod">
          <ac:chgData name="Katerine Schifino" userId="37bb67de-9fcf-4611-888c-7e5b58184a2a" providerId="ADAL" clId="{C66116D1-FF33-4208-A776-57FC8BAF96E0}" dt="2022-06-01T20:33:19.585" v="65" actId="1076"/>
          <ac:picMkLst>
            <pc:docMk/>
            <pc:sldMk cId="3440500009" sldId="2146846144"/>
            <ac:picMk id="7178" creationId="{9F1E4BF3-5252-4E2B-B41A-26E1DCBC78C9}"/>
          </ac:picMkLst>
        </pc:picChg>
      </pc:sldChg>
      <pc:sldChg chg="addSp modSp mod">
        <pc:chgData name="Katerine Schifino" userId="37bb67de-9fcf-4611-888c-7e5b58184a2a" providerId="ADAL" clId="{C66116D1-FF33-4208-A776-57FC8BAF96E0}" dt="2022-06-01T20:41:56.275" v="270" actId="207"/>
        <pc:sldMkLst>
          <pc:docMk/>
          <pc:sldMk cId="1852137981" sldId="2146846145"/>
        </pc:sldMkLst>
        <pc:spChg chg="add mod">
          <ac:chgData name="Katerine Schifino" userId="37bb67de-9fcf-4611-888c-7e5b58184a2a" providerId="ADAL" clId="{C66116D1-FF33-4208-A776-57FC8BAF96E0}" dt="2022-06-01T20:40:51.290" v="234" actId="1076"/>
          <ac:spMkLst>
            <pc:docMk/>
            <pc:sldMk cId="1852137981" sldId="2146846145"/>
            <ac:spMk id="3" creationId="{DD5357B5-76B7-46D8-B2F1-84B50F974A13}"/>
          </ac:spMkLst>
        </pc:spChg>
        <pc:spChg chg="add mod">
          <ac:chgData name="Katerine Schifino" userId="37bb67de-9fcf-4611-888c-7e5b58184a2a" providerId="ADAL" clId="{C66116D1-FF33-4208-A776-57FC8BAF96E0}" dt="2022-06-01T20:41:25.232" v="264" actId="1036"/>
          <ac:spMkLst>
            <pc:docMk/>
            <pc:sldMk cId="1852137981" sldId="2146846145"/>
            <ac:spMk id="6" creationId="{5A033FC9-8689-4DD9-8D3B-CE793F4CD056}"/>
          </ac:spMkLst>
        </pc:spChg>
        <pc:spChg chg="mod">
          <ac:chgData name="Katerine Schifino" userId="37bb67de-9fcf-4611-888c-7e5b58184a2a" providerId="ADAL" clId="{C66116D1-FF33-4208-A776-57FC8BAF96E0}" dt="2022-06-01T20:40:14.247" v="222" actId="6549"/>
          <ac:spMkLst>
            <pc:docMk/>
            <pc:sldMk cId="1852137981" sldId="2146846145"/>
            <ac:spMk id="7" creationId="{B0290C45-3A24-4347-9573-04B02FDC4684}"/>
          </ac:spMkLst>
        </pc:spChg>
        <pc:spChg chg="add mod">
          <ac:chgData name="Katerine Schifino" userId="37bb67de-9fcf-4611-888c-7e5b58184a2a" providerId="ADAL" clId="{C66116D1-FF33-4208-A776-57FC8BAF96E0}" dt="2022-06-01T20:41:09.543" v="243" actId="20577"/>
          <ac:spMkLst>
            <pc:docMk/>
            <pc:sldMk cId="1852137981" sldId="2146846145"/>
            <ac:spMk id="8" creationId="{054B793C-279F-4377-A9BE-6C9BE10EA4F5}"/>
          </ac:spMkLst>
        </pc:spChg>
        <pc:spChg chg="add mod">
          <ac:chgData name="Katerine Schifino" userId="37bb67de-9fcf-4611-888c-7e5b58184a2a" providerId="ADAL" clId="{C66116D1-FF33-4208-A776-57FC8BAF96E0}" dt="2022-06-01T20:41:25.232" v="264" actId="1036"/>
          <ac:spMkLst>
            <pc:docMk/>
            <pc:sldMk cId="1852137981" sldId="2146846145"/>
            <ac:spMk id="9" creationId="{30B6EA8D-636C-4EC5-8FE7-05A08846576C}"/>
          </ac:spMkLst>
        </pc:spChg>
        <pc:graphicFrameChg chg="add mod modGraphic">
          <ac:chgData name="Katerine Schifino" userId="37bb67de-9fcf-4611-888c-7e5b58184a2a" providerId="ADAL" clId="{C66116D1-FF33-4208-A776-57FC8BAF96E0}" dt="2022-06-01T20:41:56.275" v="270" actId="207"/>
          <ac:graphicFrameMkLst>
            <pc:docMk/>
            <pc:sldMk cId="1852137981" sldId="2146846145"/>
            <ac:graphicFrameMk id="2" creationId="{2156A4BE-9923-4E4A-94E1-0EAC857A9BAC}"/>
          </ac:graphicFrameMkLst>
        </pc:graphicFrameChg>
      </pc:sldChg>
      <pc:sldChg chg="modSp mod">
        <pc:chgData name="Katerine Schifino" userId="37bb67de-9fcf-4611-888c-7e5b58184a2a" providerId="ADAL" clId="{C66116D1-FF33-4208-A776-57FC8BAF96E0}" dt="2022-06-01T22:14:26.612" v="2100" actId="20577"/>
        <pc:sldMkLst>
          <pc:docMk/>
          <pc:sldMk cId="3872794362" sldId="2146846188"/>
        </pc:sldMkLst>
        <pc:spChg chg="mod">
          <ac:chgData name="Katerine Schifino" userId="37bb67de-9fcf-4611-888c-7e5b58184a2a" providerId="ADAL" clId="{C66116D1-FF33-4208-A776-57FC8BAF96E0}" dt="2022-06-01T22:14:26.612" v="2100" actId="20577"/>
          <ac:spMkLst>
            <pc:docMk/>
            <pc:sldMk cId="3872794362" sldId="2146846188"/>
            <ac:spMk id="4" creationId="{2ED80763-D8A0-45A2-9778-83954983BC11}"/>
          </ac:spMkLst>
        </pc:spChg>
      </pc:sldChg>
      <pc:sldChg chg="addSp delSp modSp mod">
        <pc:chgData name="Katerine Schifino" userId="37bb67de-9fcf-4611-888c-7e5b58184a2a" providerId="ADAL" clId="{C66116D1-FF33-4208-A776-57FC8BAF96E0}" dt="2022-06-01T20:27:04.432" v="20" actId="207"/>
        <pc:sldMkLst>
          <pc:docMk/>
          <pc:sldMk cId="2968486713" sldId="2146846192"/>
        </pc:sldMkLst>
        <pc:picChg chg="add mod modCrop">
          <ac:chgData name="Katerine Schifino" userId="37bb67de-9fcf-4611-888c-7e5b58184a2a" providerId="ADAL" clId="{C66116D1-FF33-4208-A776-57FC8BAF96E0}" dt="2022-06-01T20:27:04.432" v="20" actId="207"/>
          <ac:picMkLst>
            <pc:docMk/>
            <pc:sldMk cId="2968486713" sldId="2146846192"/>
            <ac:picMk id="3" creationId="{ECCD6DD9-0F71-4104-B9A7-CCB3D51FB049}"/>
          </ac:picMkLst>
        </pc:picChg>
        <pc:picChg chg="del mod">
          <ac:chgData name="Katerine Schifino" userId="37bb67de-9fcf-4611-888c-7e5b58184a2a" providerId="ADAL" clId="{C66116D1-FF33-4208-A776-57FC8BAF96E0}" dt="2022-06-01T20:14:04.955" v="3" actId="478"/>
          <ac:picMkLst>
            <pc:docMk/>
            <pc:sldMk cId="2968486713" sldId="2146846192"/>
            <ac:picMk id="37" creationId="{927E7FAF-1AA4-4353-92CD-77D8E4BBD7C3}"/>
          </ac:picMkLst>
        </pc:picChg>
      </pc:sldChg>
      <pc:sldChg chg="delSp modSp add del mod">
        <pc:chgData name="Katerine Schifino" userId="37bb67de-9fcf-4611-888c-7e5b58184a2a" providerId="ADAL" clId="{C66116D1-FF33-4208-A776-57FC8BAF96E0}" dt="2022-06-01T20:43:06.244" v="282" actId="47"/>
        <pc:sldMkLst>
          <pc:docMk/>
          <pc:sldMk cId="3005449239" sldId="2146846195"/>
        </pc:sldMkLst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9" creationId="{A89F78CA-912F-482C-BF87-C19EF93A26BC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3" creationId="{74B3DBF6-7C47-46BB-923B-DE7F2196C60D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6" creationId="{91ED6617-3ABA-4373-BEBF-8246874EC35C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7" creationId="{C5F95D62-9EB9-4C01-AA92-4F34FF534393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8" creationId="{99AAD9F0-114B-45A3-9537-8D6C6CD9F0E6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9" creationId="{A29FCCBD-FF7B-4D38-BF7D-AE32D21EE252}"/>
          </ac:spMkLst>
        </pc:spChg>
        <pc:spChg chg="mod">
          <ac:chgData name="Katerine Schifino" userId="37bb67de-9fcf-4611-888c-7e5b58184a2a" providerId="ADAL" clId="{C66116D1-FF33-4208-A776-57FC8BAF96E0}" dt="2022-06-01T20:15:34.688" v="8" actId="20577"/>
          <ac:spMkLst>
            <pc:docMk/>
            <pc:sldMk cId="3005449239" sldId="2146846195"/>
            <ac:spMk id="24" creationId="{C9CA2B5E-DC52-4C6B-9115-2A865EC2DE62}"/>
          </ac:spMkLst>
        </pc:spChg>
        <pc:picChg chg="del">
          <ac:chgData name="Katerine Schifino" userId="37bb67de-9fcf-4611-888c-7e5b58184a2a" providerId="ADAL" clId="{C66116D1-FF33-4208-A776-57FC8BAF96E0}" dt="2022-06-01T20:15:42.923" v="9" actId="478"/>
          <ac:picMkLst>
            <pc:docMk/>
            <pc:sldMk cId="3005449239" sldId="2146846195"/>
            <ac:picMk id="7172" creationId="{06A482B7-E6CD-41B3-B2D4-F3755A7DBD26}"/>
          </ac:picMkLst>
        </pc:picChg>
        <pc:picChg chg="del">
          <ac:chgData name="Katerine Schifino" userId="37bb67de-9fcf-4611-888c-7e5b58184a2a" providerId="ADAL" clId="{C66116D1-FF33-4208-A776-57FC8BAF96E0}" dt="2022-06-01T20:15:42.923" v="9" actId="478"/>
          <ac:picMkLst>
            <pc:docMk/>
            <pc:sldMk cId="3005449239" sldId="2146846195"/>
            <ac:picMk id="7174" creationId="{0AB49698-9015-49D0-955D-A25DBF1773F6}"/>
          </ac:picMkLst>
        </pc:picChg>
      </pc:sldChg>
      <pc:sldChg chg="add del">
        <pc:chgData name="Katerine Schifino" userId="37bb67de-9fcf-4611-888c-7e5b58184a2a" providerId="ADAL" clId="{C66116D1-FF33-4208-A776-57FC8BAF96E0}" dt="2022-06-01T21:04:09.595" v="287" actId="47"/>
        <pc:sldMkLst>
          <pc:docMk/>
          <pc:sldMk cId="3091330721" sldId="2146846196"/>
        </pc:sldMkLst>
      </pc:sldChg>
      <pc:sldChg chg="add del">
        <pc:chgData name="Katerine Schifino" userId="37bb67de-9fcf-4611-888c-7e5b58184a2a" providerId="ADAL" clId="{C66116D1-FF33-4208-A776-57FC8BAF96E0}" dt="2022-06-01T20:43:04.758" v="281" actId="47"/>
        <pc:sldMkLst>
          <pc:docMk/>
          <pc:sldMk cId="795868765" sldId="2146846197"/>
        </pc:sldMkLst>
      </pc:sldChg>
      <pc:sldChg chg="add del">
        <pc:chgData name="Katerine Schifino" userId="37bb67de-9fcf-4611-888c-7e5b58184a2a" providerId="ADAL" clId="{C66116D1-FF33-4208-A776-57FC8BAF96E0}" dt="2022-06-01T21:04:10.095" v="288" actId="47"/>
        <pc:sldMkLst>
          <pc:docMk/>
          <pc:sldMk cId="1073405926" sldId="2146846197"/>
        </pc:sldMkLst>
      </pc:sldChg>
      <pc:sldChg chg="add del">
        <pc:chgData name="Katerine Schifino" userId="37bb67de-9fcf-4611-888c-7e5b58184a2a" providerId="ADAL" clId="{C66116D1-FF33-4208-A776-57FC8BAF96E0}" dt="2022-06-01T20:43:01.148" v="277" actId="47"/>
        <pc:sldMkLst>
          <pc:docMk/>
          <pc:sldMk cId="458682253" sldId="2146846198"/>
        </pc:sldMkLst>
      </pc:sldChg>
      <pc:sldChg chg="add del">
        <pc:chgData name="Katerine Schifino" userId="37bb67de-9fcf-4611-888c-7e5b58184a2a" providerId="ADAL" clId="{C66116D1-FF33-4208-A776-57FC8BAF96E0}" dt="2022-06-01T21:04:10.253" v="289" actId="47"/>
        <pc:sldMkLst>
          <pc:docMk/>
          <pc:sldMk cId="3329422670" sldId="2146846198"/>
        </pc:sldMkLst>
      </pc:sldChg>
      <pc:sldChg chg="add del">
        <pc:chgData name="Katerine Schifino" userId="37bb67de-9fcf-4611-888c-7e5b58184a2a" providerId="ADAL" clId="{C66116D1-FF33-4208-A776-57FC8BAF96E0}" dt="2022-06-01T21:04:12.774" v="290" actId="47"/>
        <pc:sldMkLst>
          <pc:docMk/>
          <pc:sldMk cId="3461398178" sldId="2146846199"/>
        </pc:sldMkLst>
      </pc:sldChg>
      <pc:sldChg chg="add del">
        <pc:chgData name="Katerine Schifino" userId="37bb67de-9fcf-4611-888c-7e5b58184a2a" providerId="ADAL" clId="{C66116D1-FF33-4208-A776-57FC8BAF96E0}" dt="2022-06-01T20:43:01.354" v="278" actId="47"/>
        <pc:sldMkLst>
          <pc:docMk/>
          <pc:sldMk cId="3710799013" sldId="2146846199"/>
        </pc:sldMkLst>
      </pc:sldChg>
      <pc:sldChg chg="add del">
        <pc:chgData name="Katerine Schifino" userId="37bb67de-9fcf-4611-888c-7e5b58184a2a" providerId="ADAL" clId="{C66116D1-FF33-4208-A776-57FC8BAF96E0}" dt="2022-06-01T20:43:01.512" v="279" actId="47"/>
        <pc:sldMkLst>
          <pc:docMk/>
          <pc:sldMk cId="1299543029" sldId="2146846200"/>
        </pc:sldMkLst>
      </pc:sldChg>
      <pc:sldChg chg="addSp delSp modSp add mod">
        <pc:chgData name="Katerine Schifino" userId="37bb67de-9fcf-4611-888c-7e5b58184a2a" providerId="ADAL" clId="{C66116D1-FF33-4208-A776-57FC8BAF96E0}" dt="2022-06-01T21:48:57.899" v="1426"/>
        <pc:sldMkLst>
          <pc:docMk/>
          <pc:sldMk cId="1701351180" sldId="2146846200"/>
        </pc:sldMkLst>
        <pc:spChg chg="add mod">
          <ac:chgData name="Katerine Schifino" userId="37bb67de-9fcf-4611-888c-7e5b58184a2a" providerId="ADAL" clId="{C66116D1-FF33-4208-A776-57FC8BAF96E0}" dt="2022-06-01T21:19:02.647" v="584" actId="1076"/>
          <ac:spMkLst>
            <pc:docMk/>
            <pc:sldMk cId="1701351180" sldId="2146846200"/>
            <ac:spMk id="3" creationId="{7BB89301-BF9F-4CA5-8881-888F0FE481A7}"/>
          </ac:spMkLst>
        </pc:spChg>
        <pc:spChg chg="add del mod">
          <ac:chgData name="Katerine Schifino" userId="37bb67de-9fcf-4611-888c-7e5b58184a2a" providerId="ADAL" clId="{C66116D1-FF33-4208-A776-57FC8BAF96E0}" dt="2022-06-01T21:16:31.820" v="547" actId="478"/>
          <ac:spMkLst>
            <pc:docMk/>
            <pc:sldMk cId="1701351180" sldId="2146846200"/>
            <ac:spMk id="4" creationId="{AD6716DC-2A5C-4293-B902-D7CAFC7A9CF1}"/>
          </ac:spMkLst>
        </pc:spChg>
        <pc:spChg chg="add mod">
          <ac:chgData name="Katerine Schifino" userId="37bb67de-9fcf-4611-888c-7e5b58184a2a" providerId="ADAL" clId="{C66116D1-FF33-4208-A776-57FC8BAF96E0}" dt="2022-06-01T21:11:25.274" v="415" actId="20577"/>
          <ac:spMkLst>
            <pc:docMk/>
            <pc:sldMk cId="1701351180" sldId="2146846200"/>
            <ac:spMk id="5" creationId="{F3F5B77B-C5B7-467A-B39D-86CFB13FDDC7}"/>
          </ac:spMkLst>
        </pc:spChg>
        <pc:spChg chg="add mod">
          <ac:chgData name="Katerine Schifino" userId="37bb67de-9fcf-4611-888c-7e5b58184a2a" providerId="ADAL" clId="{C66116D1-FF33-4208-A776-57FC8BAF96E0}" dt="2022-06-01T21:13:07.567" v="530" actId="1076"/>
          <ac:spMkLst>
            <pc:docMk/>
            <pc:sldMk cId="1701351180" sldId="2146846200"/>
            <ac:spMk id="7" creationId="{D26D72DD-8DF0-4733-A3C8-76B0DBD004B8}"/>
          </ac:spMkLst>
        </pc:spChg>
        <pc:spChg chg="mod">
          <ac:chgData name="Katerine Schifino" userId="37bb67de-9fcf-4611-888c-7e5b58184a2a" providerId="ADAL" clId="{C66116D1-FF33-4208-A776-57FC8BAF96E0}" dt="2022-06-01T21:48:57.899" v="1426"/>
          <ac:spMkLst>
            <pc:docMk/>
            <pc:sldMk cId="1701351180" sldId="2146846200"/>
            <ac:spMk id="10" creationId="{7633BA57-306C-4D62-87B7-9DC7817442B3}"/>
          </ac:spMkLst>
        </pc:spChg>
        <pc:spChg chg="mod">
          <ac:chgData name="Katerine Schifino" userId="37bb67de-9fcf-4611-888c-7e5b58184a2a" providerId="ADAL" clId="{C66116D1-FF33-4208-A776-57FC8BAF96E0}" dt="2022-06-01T21:08:56.383" v="370" actId="20577"/>
          <ac:spMkLst>
            <pc:docMk/>
            <pc:sldMk cId="1701351180" sldId="2146846200"/>
            <ac:spMk id="23" creationId="{597FF9D1-F615-46B8-82C4-43A456BE5991}"/>
          </ac:spMkLst>
        </pc:spChg>
        <pc:spChg chg="add mod">
          <ac:chgData name="Katerine Schifino" userId="37bb67de-9fcf-4611-888c-7e5b58184a2a" providerId="ADAL" clId="{C66116D1-FF33-4208-A776-57FC8BAF96E0}" dt="2022-06-01T21:19:18.910" v="606" actId="1076"/>
          <ac:spMkLst>
            <pc:docMk/>
            <pc:sldMk cId="1701351180" sldId="2146846200"/>
            <ac:spMk id="26" creationId="{E2892603-AD1B-4BA5-A286-1C8E0A5DD61D}"/>
          </ac:spMkLst>
        </pc:spChg>
        <pc:spChg chg="add mod">
          <ac:chgData name="Katerine Schifino" userId="37bb67de-9fcf-4611-888c-7e5b58184a2a" providerId="ADAL" clId="{C66116D1-FF33-4208-A776-57FC8BAF96E0}" dt="2022-06-01T21:19:25.320" v="621" actId="20577"/>
          <ac:spMkLst>
            <pc:docMk/>
            <pc:sldMk cId="1701351180" sldId="2146846200"/>
            <ac:spMk id="27" creationId="{60970E43-2B70-45BD-87A9-E6C1CAE62238}"/>
          </ac:spMkLst>
        </pc:spChg>
        <pc:spChg chg="add mod">
          <ac:chgData name="Katerine Schifino" userId="37bb67de-9fcf-4611-888c-7e5b58184a2a" providerId="ADAL" clId="{C66116D1-FF33-4208-A776-57FC8BAF96E0}" dt="2022-06-01T21:19:48.899" v="631" actId="20577"/>
          <ac:spMkLst>
            <pc:docMk/>
            <pc:sldMk cId="1701351180" sldId="2146846200"/>
            <ac:spMk id="28" creationId="{0E7F086D-7828-43F2-A59B-F74AF5A43B31}"/>
          </ac:spMkLst>
        </pc:spChg>
        <pc:grpChg chg="add mod">
          <ac:chgData name="Katerine Schifino" userId="37bb67de-9fcf-4611-888c-7e5b58184a2a" providerId="ADAL" clId="{C66116D1-FF33-4208-A776-57FC8BAF96E0}" dt="2022-06-01T21:19:02.647" v="584" actId="1076"/>
          <ac:grpSpMkLst>
            <pc:docMk/>
            <pc:sldMk cId="1701351180" sldId="2146846200"/>
            <ac:grpSpMk id="11" creationId="{6346918C-5AB0-4C33-A6F0-48AE0243CF57}"/>
          </ac:grpSpMkLst>
        </pc:grpChg>
        <pc:picChg chg="add mod">
          <ac:chgData name="Katerine Schifino" userId="37bb67de-9fcf-4611-888c-7e5b58184a2a" providerId="ADAL" clId="{C66116D1-FF33-4208-A776-57FC8BAF96E0}" dt="2022-06-01T21:19:02.647" v="584" actId="1076"/>
          <ac:picMkLst>
            <pc:docMk/>
            <pc:sldMk cId="1701351180" sldId="2146846200"/>
            <ac:picMk id="8194" creationId="{786C47B1-66A2-4575-9D1F-1C6C3260AE9F}"/>
          </ac:picMkLst>
        </pc:picChg>
        <pc:picChg chg="add del">
          <ac:chgData name="Katerine Schifino" userId="37bb67de-9fcf-4611-888c-7e5b58184a2a" providerId="ADAL" clId="{C66116D1-FF33-4208-A776-57FC8BAF96E0}" dt="2022-06-01T21:15:47.217" v="535" actId="478"/>
          <ac:picMkLst>
            <pc:docMk/>
            <pc:sldMk cId="1701351180" sldId="2146846200"/>
            <ac:picMk id="8196" creationId="{67776943-75D5-4F58-8023-2B8C844C02EE}"/>
          </ac:picMkLst>
        </pc:picChg>
        <pc:picChg chg="add mod">
          <ac:chgData name="Katerine Schifino" userId="37bb67de-9fcf-4611-888c-7e5b58184a2a" providerId="ADAL" clId="{C66116D1-FF33-4208-A776-57FC8BAF96E0}" dt="2022-06-01T21:18:31.260" v="580" actId="1076"/>
          <ac:picMkLst>
            <pc:docMk/>
            <pc:sldMk cId="1701351180" sldId="2146846200"/>
            <ac:picMk id="8198" creationId="{AE9438FE-3D8E-471B-8DB5-2E0CC48B23A1}"/>
          </ac:picMkLst>
        </pc:picChg>
        <pc:picChg chg="add mod">
          <ac:chgData name="Katerine Schifino" userId="37bb67de-9fcf-4611-888c-7e5b58184a2a" providerId="ADAL" clId="{C66116D1-FF33-4208-A776-57FC8BAF96E0}" dt="2022-06-01T21:19:01.018" v="583" actId="1076"/>
          <ac:picMkLst>
            <pc:docMk/>
            <pc:sldMk cId="1701351180" sldId="2146846200"/>
            <ac:picMk id="8200" creationId="{4C27BE58-DB1B-48D9-B24E-D0A106B5896B}"/>
          </ac:picMkLst>
        </pc:pic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8" creationId="{D35C88A6-BB2C-4CB4-BBD4-B99DAF675A11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4" creationId="{F5B2B243-3E2F-45BC-9267-121F04AC352A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5" creationId="{17BD3FD3-367F-4FB8-B573-D1BF43153228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6" creationId="{1542C302-6D33-4E78-BE8F-E985A3D0EBB6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7" creationId="{90B87202-6117-4FE6-849F-C488E1F1DFE5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9" creationId="{B4E14974-ABD6-4437-807F-53ECF6B4B2B7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20" creationId="{D79D8E3E-52A2-425B-8990-E6EC0DE7DA5F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21" creationId="{A791468B-B00D-4B1F-9420-C3235B9FB155}"/>
          </ac:cxnSpMkLst>
        </pc:cxnChg>
      </pc:sldChg>
      <pc:sldChg chg="add del">
        <pc:chgData name="Katerine Schifino" userId="37bb67de-9fcf-4611-888c-7e5b58184a2a" providerId="ADAL" clId="{C66116D1-FF33-4208-A776-57FC8BAF96E0}" dt="2022-06-01T20:43:02.318" v="280" actId="47"/>
        <pc:sldMkLst>
          <pc:docMk/>
          <pc:sldMk cId="544209581" sldId="2146846201"/>
        </pc:sldMkLst>
      </pc:sldChg>
      <pc:sldChg chg="addSp delSp modSp add mod">
        <pc:chgData name="Katerine Schifino" userId="37bb67de-9fcf-4611-888c-7e5b58184a2a" providerId="ADAL" clId="{C66116D1-FF33-4208-A776-57FC8BAF96E0}" dt="2022-06-01T21:48:55.539" v="1425"/>
        <pc:sldMkLst>
          <pc:docMk/>
          <pc:sldMk cId="3562627161" sldId="2146846201"/>
        </pc:sldMkLst>
        <pc:spChg chg="del">
          <ac:chgData name="Katerine Schifino" userId="37bb67de-9fcf-4611-888c-7e5b58184a2a" providerId="ADAL" clId="{C66116D1-FF33-4208-A776-57FC8BAF96E0}" dt="2022-06-01T21:22:11.824" v="665" actId="21"/>
          <ac:spMkLst>
            <pc:docMk/>
            <pc:sldMk cId="3562627161" sldId="2146846201"/>
            <ac:spMk id="5" creationId="{F3F5B77B-C5B7-467A-B39D-86CFB13FDDC7}"/>
          </ac:spMkLst>
        </pc:spChg>
        <pc:spChg chg="del">
          <ac:chgData name="Katerine Schifino" userId="37bb67de-9fcf-4611-888c-7e5b58184a2a" providerId="ADAL" clId="{C66116D1-FF33-4208-A776-57FC8BAF96E0}" dt="2022-06-01T21:23:11.741" v="705" actId="478"/>
          <ac:spMkLst>
            <pc:docMk/>
            <pc:sldMk cId="3562627161" sldId="2146846201"/>
            <ac:spMk id="7" creationId="{D26D72DD-8DF0-4733-A3C8-76B0DBD004B8}"/>
          </ac:spMkLst>
        </pc:spChg>
        <pc:spChg chg="mod">
          <ac:chgData name="Katerine Schifino" userId="37bb67de-9fcf-4611-888c-7e5b58184a2a" providerId="ADAL" clId="{C66116D1-FF33-4208-A776-57FC8BAF96E0}" dt="2022-06-01T21:48:55.539" v="1425"/>
          <ac:spMkLst>
            <pc:docMk/>
            <pc:sldMk cId="3562627161" sldId="2146846201"/>
            <ac:spMk id="10" creationId="{7633BA57-306C-4D62-87B7-9DC7817442B3}"/>
          </ac:spMkLst>
        </pc:spChg>
        <pc:spChg chg="mod">
          <ac:chgData name="Katerine Schifino" userId="37bb67de-9fcf-4611-888c-7e5b58184a2a" providerId="ADAL" clId="{C66116D1-FF33-4208-A776-57FC8BAF96E0}" dt="2022-06-01T21:26:46.336" v="797" actId="1076"/>
          <ac:spMkLst>
            <pc:docMk/>
            <pc:sldMk cId="3562627161" sldId="2146846201"/>
            <ac:spMk id="23" creationId="{597FF9D1-F615-46B8-82C4-43A456BE5991}"/>
          </ac:spMkLst>
        </pc:spChg>
        <pc:spChg chg="mod">
          <ac:chgData name="Katerine Schifino" userId="37bb67de-9fcf-4611-888c-7e5b58184a2a" providerId="ADAL" clId="{C66116D1-FF33-4208-A776-57FC8BAF96E0}" dt="2022-06-01T21:21:17.541" v="646" actId="20577"/>
          <ac:spMkLst>
            <pc:docMk/>
            <pc:sldMk cId="3562627161" sldId="2146846201"/>
            <ac:spMk id="24" creationId="{C9CA2B5E-DC52-4C6B-9115-2A865EC2DE62}"/>
          </ac:spMkLst>
        </pc:spChg>
        <pc:spChg chg="del">
          <ac:chgData name="Katerine Schifino" userId="37bb67de-9fcf-4611-888c-7e5b58184a2a" providerId="ADAL" clId="{C66116D1-FF33-4208-A776-57FC8BAF96E0}" dt="2022-06-01T21:23:11.741" v="705" actId="478"/>
          <ac:spMkLst>
            <pc:docMk/>
            <pc:sldMk cId="3562627161" sldId="2146846201"/>
            <ac:spMk id="26" creationId="{E2892603-AD1B-4BA5-A286-1C8E0A5DD61D}"/>
          </ac:spMkLst>
        </pc:spChg>
        <pc:spChg chg="del">
          <ac:chgData name="Katerine Schifino" userId="37bb67de-9fcf-4611-888c-7e5b58184a2a" providerId="ADAL" clId="{C66116D1-FF33-4208-A776-57FC8BAF96E0}" dt="2022-06-01T21:23:11.741" v="705" actId="478"/>
          <ac:spMkLst>
            <pc:docMk/>
            <pc:sldMk cId="3562627161" sldId="2146846201"/>
            <ac:spMk id="27" creationId="{60970E43-2B70-45BD-87A9-E6C1CAE62238}"/>
          </ac:spMkLst>
        </pc:spChg>
        <pc:spChg chg="del">
          <ac:chgData name="Katerine Schifino" userId="37bb67de-9fcf-4611-888c-7e5b58184a2a" providerId="ADAL" clId="{C66116D1-FF33-4208-A776-57FC8BAF96E0}" dt="2022-06-01T21:23:11.741" v="705" actId="478"/>
          <ac:spMkLst>
            <pc:docMk/>
            <pc:sldMk cId="3562627161" sldId="2146846201"/>
            <ac:spMk id="28" creationId="{0E7F086D-7828-43F2-A59B-F74AF5A43B31}"/>
          </ac:spMkLst>
        </pc:spChg>
        <pc:spChg chg="add mod">
          <ac:chgData name="Katerine Schifino" userId="37bb67de-9fcf-4611-888c-7e5b58184a2a" providerId="ADAL" clId="{C66116D1-FF33-4208-A776-57FC8BAF96E0}" dt="2022-06-01T21:27:05.016" v="802"/>
          <ac:spMkLst>
            <pc:docMk/>
            <pc:sldMk cId="3562627161" sldId="2146846201"/>
            <ac:spMk id="29" creationId="{C426C0A3-7076-48B9-9298-D589D0F1CA8A}"/>
          </ac:spMkLst>
        </pc:spChg>
        <pc:spChg chg="add mod">
          <ac:chgData name="Katerine Schifino" userId="37bb67de-9fcf-4611-888c-7e5b58184a2a" providerId="ADAL" clId="{C66116D1-FF33-4208-A776-57FC8BAF96E0}" dt="2022-06-01T21:33:31.896" v="853" actId="207"/>
          <ac:spMkLst>
            <pc:docMk/>
            <pc:sldMk cId="3562627161" sldId="2146846201"/>
            <ac:spMk id="30" creationId="{B4A49147-348F-475E-BBC0-43DDE507D83D}"/>
          </ac:spMkLst>
        </pc:spChg>
        <pc:spChg chg="add mod">
          <ac:chgData name="Katerine Schifino" userId="37bb67de-9fcf-4611-888c-7e5b58184a2a" providerId="ADAL" clId="{C66116D1-FF33-4208-A776-57FC8BAF96E0}" dt="2022-06-01T21:27:15.002" v="805"/>
          <ac:spMkLst>
            <pc:docMk/>
            <pc:sldMk cId="3562627161" sldId="2146846201"/>
            <ac:spMk id="32" creationId="{344E24FF-4BFE-4F23-AB98-2B51E7317A46}"/>
          </ac:spMkLst>
        </pc:spChg>
        <pc:spChg chg="add mod">
          <ac:chgData name="Katerine Schifino" userId="37bb67de-9fcf-4611-888c-7e5b58184a2a" providerId="ADAL" clId="{C66116D1-FF33-4208-A776-57FC8BAF96E0}" dt="2022-06-01T21:33:37.191" v="855" actId="207"/>
          <ac:spMkLst>
            <pc:docMk/>
            <pc:sldMk cId="3562627161" sldId="2146846201"/>
            <ac:spMk id="33" creationId="{10C7C999-D5CA-41E2-875A-0022D5E8EF28}"/>
          </ac:spMkLst>
        </pc:spChg>
        <pc:spChg chg="add mod">
          <ac:chgData name="Katerine Schifino" userId="37bb67de-9fcf-4611-888c-7e5b58184a2a" providerId="ADAL" clId="{C66116D1-FF33-4208-A776-57FC8BAF96E0}" dt="2022-06-01T21:29:39.212" v="817" actId="242"/>
          <ac:spMkLst>
            <pc:docMk/>
            <pc:sldMk cId="3562627161" sldId="2146846201"/>
            <ac:spMk id="35" creationId="{C4241B0A-35DF-4FD5-9974-0AB99B0C13B7}"/>
          </ac:spMkLst>
        </pc:spChg>
        <pc:spChg chg="add mod">
          <ac:chgData name="Katerine Schifino" userId="37bb67de-9fcf-4611-888c-7e5b58184a2a" providerId="ADAL" clId="{C66116D1-FF33-4208-A776-57FC8BAF96E0}" dt="2022-06-01T21:33:16.135" v="848" actId="14100"/>
          <ac:spMkLst>
            <pc:docMk/>
            <pc:sldMk cId="3562627161" sldId="2146846201"/>
            <ac:spMk id="36" creationId="{9D1DD61F-DAC1-4024-9DC1-A0E99962D57F}"/>
          </ac:spMkLst>
        </pc:spChg>
        <pc:grpChg chg="del">
          <ac:chgData name="Katerine Schifino" userId="37bb67de-9fcf-4611-888c-7e5b58184a2a" providerId="ADAL" clId="{C66116D1-FF33-4208-A776-57FC8BAF96E0}" dt="2022-06-01T21:23:11.741" v="705" actId="478"/>
          <ac:grpSpMkLst>
            <pc:docMk/>
            <pc:sldMk cId="3562627161" sldId="2146846201"/>
            <ac:grpSpMk id="11" creationId="{6346918C-5AB0-4C33-A6F0-48AE0243CF57}"/>
          </ac:grpSpMkLst>
        </pc:grpChg>
        <pc:grpChg chg="add mod">
          <ac:chgData name="Katerine Schifino" userId="37bb67de-9fcf-4611-888c-7e5b58184a2a" providerId="ADAL" clId="{C66116D1-FF33-4208-A776-57FC8BAF96E0}" dt="2022-06-01T21:32:51.856" v="844" actId="1076"/>
          <ac:grpSpMkLst>
            <pc:docMk/>
            <pc:sldMk cId="3562627161" sldId="2146846201"/>
            <ac:grpSpMk id="25" creationId="{1D2E1FDC-9A57-4FAF-B8B0-08449988BBC2}"/>
          </ac:grpSpMkLst>
        </pc:grpChg>
        <pc:grpChg chg="add mod">
          <ac:chgData name="Katerine Schifino" userId="37bb67de-9fcf-4611-888c-7e5b58184a2a" providerId="ADAL" clId="{C66116D1-FF33-4208-A776-57FC8BAF96E0}" dt="2022-06-01T21:32:49.200" v="843" actId="1076"/>
          <ac:grpSpMkLst>
            <pc:docMk/>
            <pc:sldMk cId="3562627161" sldId="2146846201"/>
            <ac:grpSpMk id="31" creationId="{1441BF0E-5B34-4DFF-82F7-9860BAA14242}"/>
          </ac:grpSpMkLst>
        </pc:grpChg>
        <pc:grpChg chg="add mod">
          <ac:chgData name="Katerine Schifino" userId="37bb67de-9fcf-4611-888c-7e5b58184a2a" providerId="ADAL" clId="{C66116D1-FF33-4208-A776-57FC8BAF96E0}" dt="2022-06-01T21:32:02.824" v="831" actId="1076"/>
          <ac:grpSpMkLst>
            <pc:docMk/>
            <pc:sldMk cId="3562627161" sldId="2146846201"/>
            <ac:grpSpMk id="34" creationId="{B6CB8490-9193-41EA-96F4-A53213A81020}"/>
          </ac:grpSpMkLst>
        </pc:grpChg>
        <pc:graphicFrameChg chg="add mod modGraphic">
          <ac:chgData name="Katerine Schifino" userId="37bb67de-9fcf-4611-888c-7e5b58184a2a" providerId="ADAL" clId="{C66116D1-FF33-4208-A776-57FC8BAF96E0}" dt="2022-06-01T21:31:55.805" v="830"/>
          <ac:graphicFrameMkLst>
            <pc:docMk/>
            <pc:sldMk cId="3562627161" sldId="2146846201"/>
            <ac:graphicFrameMk id="2" creationId="{DC85F967-85F0-4798-B658-4CA67A472FA0}"/>
          </ac:graphicFrameMkLst>
        </pc:graphicFrameChg>
        <pc:picChg chg="del">
          <ac:chgData name="Katerine Schifino" userId="37bb67de-9fcf-4611-888c-7e5b58184a2a" providerId="ADAL" clId="{C66116D1-FF33-4208-A776-57FC8BAF96E0}" dt="2022-06-01T21:23:11.741" v="705" actId="478"/>
          <ac:picMkLst>
            <pc:docMk/>
            <pc:sldMk cId="3562627161" sldId="2146846201"/>
            <ac:picMk id="8198" creationId="{AE9438FE-3D8E-471B-8DB5-2E0CC48B23A1}"/>
          </ac:picMkLst>
        </pc:picChg>
        <pc:picChg chg="del">
          <ac:chgData name="Katerine Schifino" userId="37bb67de-9fcf-4611-888c-7e5b58184a2a" providerId="ADAL" clId="{C66116D1-FF33-4208-A776-57FC8BAF96E0}" dt="2022-06-01T21:23:11.741" v="705" actId="478"/>
          <ac:picMkLst>
            <pc:docMk/>
            <pc:sldMk cId="3562627161" sldId="2146846201"/>
            <ac:picMk id="8200" creationId="{4C27BE58-DB1B-48D9-B24E-D0A106B5896B}"/>
          </ac:picMkLst>
        </pc:picChg>
      </pc:sldChg>
      <pc:sldChg chg="addSp delSp modSp add mod">
        <pc:chgData name="Katerine Schifino" userId="37bb67de-9fcf-4611-888c-7e5b58184a2a" providerId="ADAL" clId="{C66116D1-FF33-4208-A776-57FC8BAF96E0}" dt="2022-06-01T22:06:46.044" v="1952" actId="12"/>
        <pc:sldMkLst>
          <pc:docMk/>
          <pc:sldMk cId="3690015844" sldId="2146846202"/>
        </pc:sldMkLst>
        <pc:spChg chg="mod">
          <ac:chgData name="Katerine Schifino" userId="37bb67de-9fcf-4611-888c-7e5b58184a2a" providerId="ADAL" clId="{C66116D1-FF33-4208-A776-57FC8BAF96E0}" dt="2022-06-01T21:54:06.925" v="1474" actId="6549"/>
          <ac:spMkLst>
            <pc:docMk/>
            <pc:sldMk cId="3690015844" sldId="2146846202"/>
            <ac:spMk id="5" creationId="{F3F5B77B-C5B7-467A-B39D-86CFB13FDDC7}"/>
          </ac:spMkLst>
        </pc:spChg>
        <pc:spChg chg="mod">
          <ac:chgData name="Katerine Schifino" userId="37bb67de-9fcf-4611-888c-7e5b58184a2a" providerId="ADAL" clId="{C66116D1-FF33-4208-A776-57FC8BAF96E0}" dt="2022-06-01T21:45:52.337" v="1372" actId="1076"/>
          <ac:spMkLst>
            <pc:docMk/>
            <pc:sldMk cId="3690015844" sldId="2146846202"/>
            <ac:spMk id="7" creationId="{D26D72DD-8DF0-4733-A3C8-76B0DBD004B8}"/>
          </ac:spMkLst>
        </pc:spChg>
        <pc:spChg chg="mod">
          <ac:chgData name="Katerine Schifino" userId="37bb67de-9fcf-4611-888c-7e5b58184a2a" providerId="ADAL" clId="{C66116D1-FF33-4208-A776-57FC8BAF96E0}" dt="2022-06-01T21:48:47.669" v="1424" actId="13926"/>
          <ac:spMkLst>
            <pc:docMk/>
            <pc:sldMk cId="3690015844" sldId="2146846202"/>
            <ac:spMk id="10" creationId="{7633BA57-306C-4D62-87B7-9DC7817442B3}"/>
          </ac:spMkLst>
        </pc:spChg>
        <pc:spChg chg="mod">
          <ac:chgData name="Katerine Schifino" userId="37bb67de-9fcf-4611-888c-7e5b58184a2a" providerId="ADAL" clId="{C66116D1-FF33-4208-A776-57FC8BAF96E0}" dt="2022-06-01T22:06:46.044" v="1952" actId="12"/>
          <ac:spMkLst>
            <pc:docMk/>
            <pc:sldMk cId="3690015844" sldId="2146846202"/>
            <ac:spMk id="23" creationId="{597FF9D1-F615-46B8-82C4-43A456BE5991}"/>
          </ac:spMkLst>
        </pc:spChg>
        <pc:spChg chg="mod">
          <ac:chgData name="Katerine Schifino" userId="37bb67de-9fcf-4611-888c-7e5b58184a2a" providerId="ADAL" clId="{C66116D1-FF33-4208-A776-57FC8BAF96E0}" dt="2022-06-01T21:34:13.258" v="875" actId="20577"/>
          <ac:spMkLst>
            <pc:docMk/>
            <pc:sldMk cId="3690015844" sldId="2146846202"/>
            <ac:spMk id="24" creationId="{C9CA2B5E-DC52-4C6B-9115-2A865EC2DE62}"/>
          </ac:spMkLst>
        </pc:spChg>
        <pc:spChg chg="add mod">
          <ac:chgData name="Katerine Schifino" userId="37bb67de-9fcf-4611-888c-7e5b58184a2a" providerId="ADAL" clId="{C66116D1-FF33-4208-A776-57FC8BAF96E0}" dt="2022-06-01T21:48:11.374" v="1395" actId="14100"/>
          <ac:spMkLst>
            <pc:docMk/>
            <pc:sldMk cId="3690015844" sldId="2146846202"/>
            <ac:spMk id="25" creationId="{4569AF6A-ED16-4E74-80E6-C0570928E4D6}"/>
          </ac:spMkLst>
        </pc:spChg>
        <pc:spChg chg="del">
          <ac:chgData name="Katerine Schifino" userId="37bb67de-9fcf-4611-888c-7e5b58184a2a" providerId="ADAL" clId="{C66116D1-FF33-4208-A776-57FC8BAF96E0}" dt="2022-06-01T21:43:41.319" v="1297" actId="478"/>
          <ac:spMkLst>
            <pc:docMk/>
            <pc:sldMk cId="3690015844" sldId="2146846202"/>
            <ac:spMk id="26" creationId="{E2892603-AD1B-4BA5-A286-1C8E0A5DD61D}"/>
          </ac:spMkLst>
        </pc:spChg>
        <pc:spChg chg="del">
          <ac:chgData name="Katerine Schifino" userId="37bb67de-9fcf-4611-888c-7e5b58184a2a" providerId="ADAL" clId="{C66116D1-FF33-4208-A776-57FC8BAF96E0}" dt="2022-06-01T21:43:41.319" v="1297" actId="478"/>
          <ac:spMkLst>
            <pc:docMk/>
            <pc:sldMk cId="3690015844" sldId="2146846202"/>
            <ac:spMk id="27" creationId="{60970E43-2B70-45BD-87A9-E6C1CAE62238}"/>
          </ac:spMkLst>
        </pc:spChg>
        <pc:spChg chg="del">
          <ac:chgData name="Katerine Schifino" userId="37bb67de-9fcf-4611-888c-7e5b58184a2a" providerId="ADAL" clId="{C66116D1-FF33-4208-A776-57FC8BAF96E0}" dt="2022-06-01T21:43:41.319" v="1297" actId="478"/>
          <ac:spMkLst>
            <pc:docMk/>
            <pc:sldMk cId="3690015844" sldId="2146846202"/>
            <ac:spMk id="28" creationId="{0E7F086D-7828-43F2-A59B-F74AF5A43B31}"/>
          </ac:spMkLst>
        </pc:spChg>
        <pc:grpChg chg="del">
          <ac:chgData name="Katerine Schifino" userId="37bb67de-9fcf-4611-888c-7e5b58184a2a" providerId="ADAL" clId="{C66116D1-FF33-4208-A776-57FC8BAF96E0}" dt="2022-06-01T21:43:41.319" v="1297" actId="478"/>
          <ac:grpSpMkLst>
            <pc:docMk/>
            <pc:sldMk cId="3690015844" sldId="2146846202"/>
            <ac:grpSpMk id="11" creationId="{6346918C-5AB0-4C33-A6F0-48AE0243CF57}"/>
          </ac:grpSpMkLst>
        </pc:grpChg>
        <pc:picChg chg="del">
          <ac:chgData name="Katerine Schifino" userId="37bb67de-9fcf-4611-888c-7e5b58184a2a" providerId="ADAL" clId="{C66116D1-FF33-4208-A776-57FC8BAF96E0}" dt="2022-06-01T21:43:41.319" v="1297" actId="478"/>
          <ac:picMkLst>
            <pc:docMk/>
            <pc:sldMk cId="3690015844" sldId="2146846202"/>
            <ac:picMk id="8198" creationId="{AE9438FE-3D8E-471B-8DB5-2E0CC48B23A1}"/>
          </ac:picMkLst>
        </pc:picChg>
        <pc:picChg chg="del">
          <ac:chgData name="Katerine Schifino" userId="37bb67de-9fcf-4611-888c-7e5b58184a2a" providerId="ADAL" clId="{C66116D1-FF33-4208-A776-57FC8BAF96E0}" dt="2022-06-01T21:43:41.319" v="1297" actId="478"/>
          <ac:picMkLst>
            <pc:docMk/>
            <pc:sldMk cId="3690015844" sldId="2146846202"/>
            <ac:picMk id="8200" creationId="{4C27BE58-DB1B-48D9-B24E-D0A106B5896B}"/>
          </ac:picMkLst>
        </pc:picChg>
        <pc:picChg chg="add mod">
          <ac:chgData name="Katerine Schifino" userId="37bb67de-9fcf-4611-888c-7e5b58184a2a" providerId="ADAL" clId="{C66116D1-FF33-4208-A776-57FC8BAF96E0}" dt="2022-06-01T21:48:00.848" v="1393" actId="1076"/>
          <ac:picMkLst>
            <pc:docMk/>
            <pc:sldMk cId="3690015844" sldId="2146846202"/>
            <ac:picMk id="9218" creationId="{85AB0EE7-0824-40C6-9D9A-04ABCED7E98F}"/>
          </ac:picMkLst>
        </pc:picChg>
        <pc:picChg chg="add mod">
          <ac:chgData name="Katerine Schifino" userId="37bb67de-9fcf-4611-888c-7e5b58184a2a" providerId="ADAL" clId="{C66116D1-FF33-4208-A776-57FC8BAF96E0}" dt="2022-06-01T21:47:25.925" v="1382" actId="1076"/>
          <ac:picMkLst>
            <pc:docMk/>
            <pc:sldMk cId="3690015844" sldId="2146846202"/>
            <ac:picMk id="9220" creationId="{3E4CDDEB-CEED-4314-A149-F8BE3EFB4979}"/>
          </ac:picMkLst>
        </pc:picChg>
      </pc:sldChg>
      <pc:sldChg chg="addSp delSp modSp add mod">
        <pc:chgData name="Katerine Schifino" userId="37bb67de-9fcf-4611-888c-7e5b58184a2a" providerId="ADAL" clId="{C66116D1-FF33-4208-A776-57FC8BAF96E0}" dt="2022-06-01T22:10:54.775" v="2030" actId="1076"/>
        <pc:sldMkLst>
          <pc:docMk/>
          <pc:sldMk cId="3562794010" sldId="2146846203"/>
        </pc:sldMkLst>
        <pc:spChg chg="del">
          <ac:chgData name="Katerine Schifino" userId="37bb67de-9fcf-4611-888c-7e5b58184a2a" providerId="ADAL" clId="{C66116D1-FF33-4208-A776-57FC8BAF96E0}" dt="2022-06-01T21:53:37.870" v="1428" actId="478"/>
          <ac:spMkLst>
            <pc:docMk/>
            <pc:sldMk cId="3562794010" sldId="2146846203"/>
            <ac:spMk id="5" creationId="{F3F5B77B-C5B7-467A-B39D-86CFB13FDDC7}"/>
          </ac:spMkLst>
        </pc:spChg>
        <pc:spChg chg="del">
          <ac:chgData name="Katerine Schifino" userId="37bb67de-9fcf-4611-888c-7e5b58184a2a" providerId="ADAL" clId="{C66116D1-FF33-4208-A776-57FC8BAF96E0}" dt="2022-06-01T21:53:37.870" v="1428" actId="478"/>
          <ac:spMkLst>
            <pc:docMk/>
            <pc:sldMk cId="3562794010" sldId="2146846203"/>
            <ac:spMk id="7" creationId="{D26D72DD-8DF0-4733-A3C8-76B0DBD004B8}"/>
          </ac:spMkLst>
        </pc:spChg>
        <pc:spChg chg="add mod">
          <ac:chgData name="Katerine Schifino" userId="37bb67de-9fcf-4611-888c-7e5b58184a2a" providerId="ADAL" clId="{C66116D1-FF33-4208-A776-57FC8BAF96E0}" dt="2022-06-01T22:09:26.163" v="2014" actId="20577"/>
          <ac:spMkLst>
            <pc:docMk/>
            <pc:sldMk cId="3562794010" sldId="2146846203"/>
            <ac:spMk id="11" creationId="{41A23544-9FA8-46C1-A95B-36EDA981A4E4}"/>
          </ac:spMkLst>
        </pc:spChg>
        <pc:spChg chg="add mod">
          <ac:chgData name="Katerine Schifino" userId="37bb67de-9fcf-4611-888c-7e5b58184a2a" providerId="ADAL" clId="{C66116D1-FF33-4208-A776-57FC8BAF96E0}" dt="2022-06-01T22:09:39.770" v="2015" actId="1076"/>
          <ac:spMkLst>
            <pc:docMk/>
            <pc:sldMk cId="3562794010" sldId="2146846203"/>
            <ac:spMk id="12" creationId="{51D094F1-649F-4230-8502-5B69C0E6075F}"/>
          </ac:spMkLst>
        </pc:spChg>
        <pc:spChg chg="add mod">
          <ac:chgData name="Katerine Schifino" userId="37bb67de-9fcf-4611-888c-7e5b58184a2a" providerId="ADAL" clId="{C66116D1-FF33-4208-A776-57FC8BAF96E0}" dt="2022-06-01T22:09:45.536" v="2017" actId="1076"/>
          <ac:spMkLst>
            <pc:docMk/>
            <pc:sldMk cId="3562794010" sldId="2146846203"/>
            <ac:spMk id="14" creationId="{CDEFBBD5-78DA-4295-A01A-795CFF1AE7A1}"/>
          </ac:spMkLst>
        </pc:spChg>
        <pc:spChg chg="add mod">
          <ac:chgData name="Katerine Schifino" userId="37bb67de-9fcf-4611-888c-7e5b58184a2a" providerId="ADAL" clId="{C66116D1-FF33-4208-A776-57FC8BAF96E0}" dt="2022-06-01T22:09:49.777" v="2019" actId="1076"/>
          <ac:spMkLst>
            <pc:docMk/>
            <pc:sldMk cId="3562794010" sldId="2146846203"/>
            <ac:spMk id="16" creationId="{666C3C8E-749D-4A36-AEAE-692812982359}"/>
          </ac:spMkLst>
        </pc:spChg>
        <pc:spChg chg="mod">
          <ac:chgData name="Katerine Schifino" userId="37bb67de-9fcf-4611-888c-7e5b58184a2a" providerId="ADAL" clId="{C66116D1-FF33-4208-A776-57FC8BAF96E0}" dt="2022-06-01T21:57:55.203" v="1562" actId="20577"/>
          <ac:spMkLst>
            <pc:docMk/>
            <pc:sldMk cId="3562794010" sldId="2146846203"/>
            <ac:spMk id="23" creationId="{597FF9D1-F615-46B8-82C4-43A456BE5991}"/>
          </ac:spMkLst>
        </pc:spChg>
        <pc:spChg chg="mod">
          <ac:chgData name="Katerine Schifino" userId="37bb67de-9fcf-4611-888c-7e5b58184a2a" providerId="ADAL" clId="{C66116D1-FF33-4208-A776-57FC8BAF96E0}" dt="2022-06-01T21:53:58.031" v="1456" actId="6549"/>
          <ac:spMkLst>
            <pc:docMk/>
            <pc:sldMk cId="3562794010" sldId="2146846203"/>
            <ac:spMk id="24" creationId="{C9CA2B5E-DC52-4C6B-9115-2A865EC2DE62}"/>
          </ac:spMkLst>
        </pc:spChg>
        <pc:spChg chg="del">
          <ac:chgData name="Katerine Schifino" userId="37bb67de-9fcf-4611-888c-7e5b58184a2a" providerId="ADAL" clId="{C66116D1-FF33-4208-A776-57FC8BAF96E0}" dt="2022-06-01T21:53:37.870" v="1428" actId="478"/>
          <ac:spMkLst>
            <pc:docMk/>
            <pc:sldMk cId="3562794010" sldId="2146846203"/>
            <ac:spMk id="25" creationId="{4569AF6A-ED16-4E74-80E6-C0570928E4D6}"/>
          </ac:spMkLst>
        </pc:spChg>
        <pc:picChg chg="del">
          <ac:chgData name="Katerine Schifino" userId="37bb67de-9fcf-4611-888c-7e5b58184a2a" providerId="ADAL" clId="{C66116D1-FF33-4208-A776-57FC8BAF96E0}" dt="2022-06-01T21:53:37.870" v="1428" actId="478"/>
          <ac:picMkLst>
            <pc:docMk/>
            <pc:sldMk cId="3562794010" sldId="2146846203"/>
            <ac:picMk id="9218" creationId="{85AB0EE7-0824-40C6-9D9A-04ABCED7E98F}"/>
          </ac:picMkLst>
        </pc:picChg>
        <pc:picChg chg="del">
          <ac:chgData name="Katerine Schifino" userId="37bb67de-9fcf-4611-888c-7e5b58184a2a" providerId="ADAL" clId="{C66116D1-FF33-4208-A776-57FC8BAF96E0}" dt="2022-06-01T21:53:37.870" v="1428" actId="478"/>
          <ac:picMkLst>
            <pc:docMk/>
            <pc:sldMk cId="3562794010" sldId="2146846203"/>
            <ac:picMk id="9220" creationId="{3E4CDDEB-CEED-4314-A149-F8BE3EFB4979}"/>
          </ac:picMkLst>
        </pc:picChg>
        <pc:picChg chg="add mod">
          <ac:chgData name="Katerine Schifino" userId="37bb67de-9fcf-4611-888c-7e5b58184a2a" providerId="ADAL" clId="{C66116D1-FF33-4208-A776-57FC8BAF96E0}" dt="2022-06-01T22:09:53.527" v="2020" actId="1076"/>
          <ac:picMkLst>
            <pc:docMk/>
            <pc:sldMk cId="3562794010" sldId="2146846203"/>
            <ac:picMk id="11266" creationId="{AEA83DA9-B968-487E-8C22-E75697A6C18D}"/>
          </ac:picMkLst>
        </pc:picChg>
        <pc:picChg chg="add mod">
          <ac:chgData name="Katerine Schifino" userId="37bb67de-9fcf-4611-888c-7e5b58184a2a" providerId="ADAL" clId="{C66116D1-FF33-4208-A776-57FC8BAF96E0}" dt="2022-06-01T22:09:43.106" v="2016" actId="1076"/>
          <ac:picMkLst>
            <pc:docMk/>
            <pc:sldMk cId="3562794010" sldId="2146846203"/>
            <ac:picMk id="11268" creationId="{9B3C7CBF-B708-4046-8779-B48E6412D94A}"/>
          </ac:picMkLst>
        </pc:picChg>
        <pc:picChg chg="add del mod">
          <ac:chgData name="Katerine Schifino" userId="37bb67de-9fcf-4611-888c-7e5b58184a2a" providerId="ADAL" clId="{C66116D1-FF33-4208-A776-57FC8BAF96E0}" dt="2022-06-01T22:10:28.897" v="2025" actId="478"/>
          <ac:picMkLst>
            <pc:docMk/>
            <pc:sldMk cId="3562794010" sldId="2146846203"/>
            <ac:picMk id="11270" creationId="{82E494F6-22E6-4851-B596-94FCA080F03D}"/>
          </ac:picMkLst>
        </pc:picChg>
        <pc:picChg chg="add mod">
          <ac:chgData name="Katerine Schifino" userId="37bb67de-9fcf-4611-888c-7e5b58184a2a" providerId="ADAL" clId="{C66116D1-FF33-4208-A776-57FC8BAF96E0}" dt="2022-06-01T22:10:54.775" v="2030" actId="1076"/>
          <ac:picMkLst>
            <pc:docMk/>
            <pc:sldMk cId="3562794010" sldId="2146846203"/>
            <ac:picMk id="11272" creationId="{6B1F7787-A361-45A0-B256-F602BE0B58F8}"/>
          </ac:picMkLst>
        </pc:picChg>
      </pc:sldChg>
    </pc:docChg>
  </pc:docChgLst>
  <pc:docChgLst>
    <pc:chgData name="Stacy Unongo" userId="c539233b-2f8d-4ba7-9131-54d319c95f15" providerId="ADAL" clId="{4C77071D-4982-442C-B949-072B8C67160F}"/>
    <pc:docChg chg="modSld">
      <pc:chgData name="Stacy Unongo" userId="c539233b-2f8d-4ba7-9131-54d319c95f15" providerId="ADAL" clId="{4C77071D-4982-442C-B949-072B8C67160F}" dt="2022-06-29T18:55:29.763" v="15" actId="20577"/>
      <pc:docMkLst>
        <pc:docMk/>
      </pc:docMkLst>
      <pc:sldChg chg="modSp mod">
        <pc:chgData name="Stacy Unongo" userId="c539233b-2f8d-4ba7-9131-54d319c95f15" providerId="ADAL" clId="{4C77071D-4982-442C-B949-072B8C67160F}" dt="2022-06-29T18:55:03.960" v="13" actId="113"/>
        <pc:sldMkLst>
          <pc:docMk/>
          <pc:sldMk cId="3576568090" sldId="2146846137"/>
        </pc:sldMkLst>
        <pc:spChg chg="mod">
          <ac:chgData name="Stacy Unongo" userId="c539233b-2f8d-4ba7-9131-54d319c95f15" providerId="ADAL" clId="{4C77071D-4982-442C-B949-072B8C67160F}" dt="2022-06-29T18:55:03.960" v="13" actId="113"/>
          <ac:spMkLst>
            <pc:docMk/>
            <pc:sldMk cId="3576568090" sldId="2146846137"/>
            <ac:spMk id="9" creationId="{C46E46B2-8DA6-4180-BE6E-D6D94C9C18D5}"/>
          </ac:spMkLst>
        </pc:spChg>
        <pc:graphicFrameChg chg="modGraphic">
          <ac:chgData name="Stacy Unongo" userId="c539233b-2f8d-4ba7-9131-54d319c95f15" providerId="ADAL" clId="{4C77071D-4982-442C-B949-072B8C67160F}" dt="2022-06-29T18:53:07.493" v="2" actId="20577"/>
          <ac:graphicFrameMkLst>
            <pc:docMk/>
            <pc:sldMk cId="3576568090" sldId="2146846137"/>
            <ac:graphicFrameMk id="2" creationId="{90C4ECCF-9B28-475A-8668-643F413BD5F2}"/>
          </ac:graphicFrameMkLst>
        </pc:graphicFrameChg>
      </pc:sldChg>
      <pc:sldChg chg="modSp mod">
        <pc:chgData name="Stacy Unongo" userId="c539233b-2f8d-4ba7-9131-54d319c95f15" providerId="ADAL" clId="{4C77071D-4982-442C-B949-072B8C67160F}" dt="2022-06-29T18:52:50.176" v="0" actId="13926"/>
        <pc:sldMkLst>
          <pc:docMk/>
          <pc:sldMk cId="3423180583" sldId="2146846182"/>
        </pc:sldMkLst>
        <pc:spChg chg="mod">
          <ac:chgData name="Stacy Unongo" userId="c539233b-2f8d-4ba7-9131-54d319c95f15" providerId="ADAL" clId="{4C77071D-4982-442C-B949-072B8C67160F}" dt="2022-06-29T18:52:50.176" v="0" actId="13926"/>
          <ac:spMkLst>
            <pc:docMk/>
            <pc:sldMk cId="3423180583" sldId="2146846182"/>
            <ac:spMk id="8" creationId="{F3692B0D-82AC-41A6-A5BD-1A4B9AC9B985}"/>
          </ac:spMkLst>
        </pc:spChg>
      </pc:sldChg>
      <pc:sldChg chg="modSp mod">
        <pc:chgData name="Stacy Unongo" userId="c539233b-2f8d-4ba7-9131-54d319c95f15" providerId="ADAL" clId="{4C77071D-4982-442C-B949-072B8C67160F}" dt="2022-06-29T18:55:29.763" v="15" actId="20577"/>
        <pc:sldMkLst>
          <pc:docMk/>
          <pc:sldMk cId="3329905440" sldId="2146846185"/>
        </pc:sldMkLst>
        <pc:spChg chg="mod">
          <ac:chgData name="Stacy Unongo" userId="c539233b-2f8d-4ba7-9131-54d319c95f15" providerId="ADAL" clId="{4C77071D-4982-442C-B949-072B8C67160F}" dt="2022-06-29T18:55:29.763" v="15" actId="20577"/>
          <ac:spMkLst>
            <pc:docMk/>
            <pc:sldMk cId="3329905440" sldId="2146846185"/>
            <ac:spMk id="4" creationId="{FC76E031-57AE-42BC-A053-96A2FC870AA8}"/>
          </ac:spMkLst>
        </pc:spChg>
      </pc:sldChg>
    </pc:docChg>
  </pc:docChgLst>
  <pc:docChgLst>
    <pc:chgData name="Katerine Schifino" userId="37bb67de-9fcf-4611-888c-7e5b58184a2a" providerId="ADAL" clId="{DDC0AF11-2D61-425D-BC3E-9D410190C756}"/>
    <pc:docChg chg="undo custSel addSld delSld modSld">
      <pc:chgData name="Katerine Schifino" userId="37bb67de-9fcf-4611-888c-7e5b58184a2a" providerId="ADAL" clId="{DDC0AF11-2D61-425D-BC3E-9D410190C756}" dt="2022-06-24T15:31:15.710" v="4048" actId="1076"/>
      <pc:docMkLst>
        <pc:docMk/>
      </pc:docMkLst>
      <pc:sldChg chg="del">
        <pc:chgData name="Katerine Schifino" userId="37bb67de-9fcf-4611-888c-7e5b58184a2a" providerId="ADAL" clId="{DDC0AF11-2D61-425D-BC3E-9D410190C756}" dt="2022-06-02T19:29:50.938" v="4" actId="47"/>
        <pc:sldMkLst>
          <pc:docMk/>
          <pc:sldMk cId="463043937" sldId="2080107999"/>
        </pc:sldMkLst>
      </pc:sldChg>
      <pc:sldChg chg="del">
        <pc:chgData name="Katerine Schifino" userId="37bb67de-9fcf-4611-888c-7e5b58184a2a" providerId="ADAL" clId="{DDC0AF11-2D61-425D-BC3E-9D410190C756}" dt="2022-06-02T19:30:01.864" v="17" actId="47"/>
        <pc:sldMkLst>
          <pc:docMk/>
          <pc:sldMk cId="3592422974" sldId="2080108014"/>
        </pc:sldMkLst>
      </pc:sldChg>
      <pc:sldChg chg="del">
        <pc:chgData name="Katerine Schifino" userId="37bb67de-9fcf-4611-888c-7e5b58184a2a" providerId="ADAL" clId="{DDC0AF11-2D61-425D-BC3E-9D410190C756}" dt="2022-06-02T19:29:51.599" v="5" actId="47"/>
        <pc:sldMkLst>
          <pc:docMk/>
          <pc:sldMk cId="3114610397" sldId="2080108169"/>
        </pc:sldMkLst>
      </pc:sldChg>
      <pc:sldChg chg="del">
        <pc:chgData name="Katerine Schifino" userId="37bb67de-9fcf-4611-888c-7e5b58184a2a" providerId="ADAL" clId="{DDC0AF11-2D61-425D-BC3E-9D410190C756}" dt="2022-06-02T19:30:00.680" v="16" actId="47"/>
        <pc:sldMkLst>
          <pc:docMk/>
          <pc:sldMk cId="3576568090" sldId="2146846137"/>
        </pc:sldMkLst>
      </pc:sldChg>
      <pc:sldChg chg="modSp add mod modClrScheme chgLayout">
        <pc:chgData name="Katerine Schifino" userId="37bb67de-9fcf-4611-888c-7e5b58184a2a" providerId="ADAL" clId="{DDC0AF11-2D61-425D-BC3E-9D410190C756}" dt="2022-06-02T19:34:50.983" v="425" actId="20577"/>
        <pc:sldMkLst>
          <pc:docMk/>
          <pc:sldMk cId="429413671" sldId="2146846138"/>
        </pc:sldMkLst>
        <pc:spChg chg="mod">
          <ac:chgData name="Katerine Schifino" userId="37bb67de-9fcf-4611-888c-7e5b58184a2a" providerId="ADAL" clId="{DDC0AF11-2D61-425D-BC3E-9D410190C756}" dt="2022-06-02T19:32:30.736" v="90" actId="6549"/>
          <ac:spMkLst>
            <pc:docMk/>
            <pc:sldMk cId="429413671" sldId="2146846138"/>
            <ac:spMk id="6" creationId="{C3E24BFF-A0DB-4ECE-96D3-5EAB937B7323}"/>
          </ac:spMkLst>
        </pc:spChg>
        <pc:spChg chg="mod">
          <ac:chgData name="Katerine Schifino" userId="37bb67de-9fcf-4611-888c-7e5b58184a2a" providerId="ADAL" clId="{DDC0AF11-2D61-425D-BC3E-9D410190C756}" dt="2022-06-02T19:34:50.983" v="425" actId="20577"/>
          <ac:spMkLst>
            <pc:docMk/>
            <pc:sldMk cId="429413671" sldId="2146846138"/>
            <ac:spMk id="8" creationId="{F3692B0D-82AC-41A6-A5BD-1A4B9AC9B985}"/>
          </ac:spMkLst>
        </pc:spChg>
      </pc:sldChg>
      <pc:sldChg chg="del">
        <pc:chgData name="Katerine Schifino" userId="37bb67de-9fcf-4611-888c-7e5b58184a2a" providerId="ADAL" clId="{DDC0AF11-2D61-425D-BC3E-9D410190C756}" dt="2022-06-02T19:30:02.284" v="18" actId="47"/>
        <pc:sldMkLst>
          <pc:docMk/>
          <pc:sldMk cId="1553596990" sldId="2146846138"/>
        </pc:sldMkLst>
      </pc:sldChg>
      <pc:sldChg chg="del">
        <pc:chgData name="Katerine Schifino" userId="37bb67de-9fcf-4611-888c-7e5b58184a2a" providerId="ADAL" clId="{DDC0AF11-2D61-425D-BC3E-9D410190C756}" dt="2022-06-02T19:29:38.195" v="1" actId="47"/>
        <pc:sldMkLst>
          <pc:docMk/>
          <pc:sldMk cId="3534808474" sldId="2146846139"/>
        </pc:sldMkLst>
      </pc:sldChg>
      <pc:sldChg chg="del">
        <pc:chgData name="Katerine Schifino" userId="37bb67de-9fcf-4611-888c-7e5b58184a2a" providerId="ADAL" clId="{DDC0AF11-2D61-425D-BC3E-9D410190C756}" dt="2022-06-02T19:29:52.092" v="6" actId="47"/>
        <pc:sldMkLst>
          <pc:docMk/>
          <pc:sldMk cId="2329445064" sldId="2146846140"/>
        </pc:sldMkLst>
      </pc:sldChg>
      <pc:sldChg chg="del">
        <pc:chgData name="Katerine Schifino" userId="37bb67de-9fcf-4611-888c-7e5b58184a2a" providerId="ADAL" clId="{DDC0AF11-2D61-425D-BC3E-9D410190C756}" dt="2022-06-02T19:29:53.747" v="11" actId="47"/>
        <pc:sldMkLst>
          <pc:docMk/>
          <pc:sldMk cId="3768805502" sldId="2146846143"/>
        </pc:sldMkLst>
      </pc:sldChg>
      <pc:sldChg chg="del">
        <pc:chgData name="Katerine Schifino" userId="37bb67de-9fcf-4611-888c-7e5b58184a2a" providerId="ADAL" clId="{DDC0AF11-2D61-425D-BC3E-9D410190C756}" dt="2022-06-02T19:29:53.925" v="12" actId="47"/>
        <pc:sldMkLst>
          <pc:docMk/>
          <pc:sldMk cId="3440500009" sldId="2146846144"/>
        </pc:sldMkLst>
      </pc:sldChg>
      <pc:sldChg chg="del">
        <pc:chgData name="Katerine Schifino" userId="37bb67de-9fcf-4611-888c-7e5b58184a2a" providerId="ADAL" clId="{DDC0AF11-2D61-425D-BC3E-9D410190C756}" dt="2022-06-02T19:29:54.058" v="13" actId="47"/>
        <pc:sldMkLst>
          <pc:docMk/>
          <pc:sldMk cId="1852137981" sldId="2146846145"/>
        </pc:sldMkLst>
      </pc:sldChg>
      <pc:sldChg chg="add del">
        <pc:chgData name="Katerine Schifino" userId="37bb67de-9fcf-4611-888c-7e5b58184a2a" providerId="ADAL" clId="{DDC0AF11-2D61-425D-BC3E-9D410190C756}" dt="2022-06-02T19:29:55.788" v="15" actId="47"/>
        <pc:sldMkLst>
          <pc:docMk/>
          <pc:sldMk cId="663539748" sldId="2146846147"/>
        </pc:sldMkLst>
      </pc:sldChg>
      <pc:sldChg chg="del">
        <pc:chgData name="Katerine Schifino" userId="37bb67de-9fcf-4611-888c-7e5b58184a2a" providerId="ADAL" clId="{DDC0AF11-2D61-425D-BC3E-9D410190C756}" dt="2022-06-02T19:29:53.275" v="9" actId="47"/>
        <pc:sldMkLst>
          <pc:docMk/>
          <pc:sldMk cId="940552876" sldId="2146846148"/>
        </pc:sldMkLst>
      </pc:sldChg>
      <pc:sldChg chg="del">
        <pc:chgData name="Katerine Schifino" userId="37bb67de-9fcf-4611-888c-7e5b58184a2a" providerId="ADAL" clId="{DDC0AF11-2D61-425D-BC3E-9D410190C756}" dt="2022-06-02T19:29:53.596" v="10" actId="47"/>
        <pc:sldMkLst>
          <pc:docMk/>
          <pc:sldMk cId="3098130296" sldId="2146846150"/>
        </pc:sldMkLst>
      </pc:sldChg>
      <pc:sldChg chg="del">
        <pc:chgData name="Katerine Schifino" userId="37bb67de-9fcf-4611-888c-7e5b58184a2a" providerId="ADAL" clId="{DDC0AF11-2D61-425D-BC3E-9D410190C756}" dt="2022-06-02T19:29:52.955" v="8" actId="47"/>
        <pc:sldMkLst>
          <pc:docMk/>
          <pc:sldMk cId="240383878" sldId="2146846151"/>
        </pc:sldMkLst>
      </pc:sldChg>
      <pc:sldChg chg="del">
        <pc:chgData name="Katerine Schifino" userId="37bb67de-9fcf-4611-888c-7e5b58184a2a" providerId="ADAL" clId="{DDC0AF11-2D61-425D-BC3E-9D410190C756}" dt="2022-06-02T19:29:52.491" v="7" actId="47"/>
        <pc:sldMkLst>
          <pc:docMk/>
          <pc:sldMk cId="3872794362" sldId="2146846188"/>
        </pc:sldMkLst>
      </pc:sldChg>
      <pc:sldChg chg="addSp delSp modSp mod">
        <pc:chgData name="Katerine Schifino" userId="37bb67de-9fcf-4611-888c-7e5b58184a2a" providerId="ADAL" clId="{DDC0AF11-2D61-425D-BC3E-9D410190C756}" dt="2022-06-21T14:28:34.309" v="4047" actId="1076"/>
        <pc:sldMkLst>
          <pc:docMk/>
          <pc:sldMk cId="1081149190" sldId="2146846189"/>
        </pc:sldMkLst>
        <pc:spChg chg="add mod">
          <ac:chgData name="Katerine Schifino" userId="37bb67de-9fcf-4611-888c-7e5b58184a2a" providerId="ADAL" clId="{DDC0AF11-2D61-425D-BC3E-9D410190C756}" dt="2022-06-21T14:28:34.309" v="4047" actId="1076"/>
          <ac:spMkLst>
            <pc:docMk/>
            <pc:sldMk cId="1081149190" sldId="2146846189"/>
            <ac:spMk id="2" creationId="{6B0D95B7-DB89-43BA-843E-1988F78AF3D9}"/>
          </ac:spMkLst>
        </pc:spChg>
        <pc:spChg chg="mod">
          <ac:chgData name="Katerine Schifino" userId="37bb67de-9fcf-4611-888c-7e5b58184a2a" providerId="ADAL" clId="{DDC0AF11-2D61-425D-BC3E-9D410190C756}" dt="2022-06-02T19:41:23.226" v="1046" actId="1076"/>
          <ac:spMkLst>
            <pc:docMk/>
            <pc:sldMk cId="1081149190" sldId="2146846189"/>
            <ac:spMk id="9" creationId="{A89F78CA-912F-482C-BF87-C19EF93A26BC}"/>
          </ac:spMkLst>
        </pc:spChg>
        <pc:spChg chg="mod">
          <ac:chgData name="Katerine Schifino" userId="37bb67de-9fcf-4611-888c-7e5b58184a2a" providerId="ADAL" clId="{DDC0AF11-2D61-425D-BC3E-9D410190C756}" dt="2022-06-02T19:41:23.226" v="1046" actId="1076"/>
          <ac:spMkLst>
            <pc:docMk/>
            <pc:sldMk cId="1081149190" sldId="2146846189"/>
            <ac:spMk id="13" creationId="{74B3DBF6-7C47-46BB-923B-DE7F2196C60D}"/>
          </ac:spMkLst>
        </pc:spChg>
        <pc:spChg chg="add del mod">
          <ac:chgData name="Katerine Schifino" userId="37bb67de-9fcf-4611-888c-7e5b58184a2a" providerId="ADAL" clId="{DDC0AF11-2D61-425D-BC3E-9D410190C756}" dt="2022-06-02T19:45:15.071" v="1306" actId="478"/>
          <ac:spMkLst>
            <pc:docMk/>
            <pc:sldMk cId="1081149190" sldId="2146846189"/>
            <ac:spMk id="14" creationId="{2523780D-6789-4D14-AE60-8DEE96D234DA}"/>
          </ac:spMkLst>
        </pc:spChg>
        <pc:spChg chg="add mod">
          <ac:chgData name="Katerine Schifino" userId="37bb67de-9fcf-4611-888c-7e5b58184a2a" providerId="ADAL" clId="{DDC0AF11-2D61-425D-BC3E-9D410190C756}" dt="2022-06-02T19:49:11.780" v="1635" actId="20577"/>
          <ac:spMkLst>
            <pc:docMk/>
            <pc:sldMk cId="1081149190" sldId="2146846189"/>
            <ac:spMk id="15" creationId="{4391AE27-F5DA-4877-ACD8-9BA48209AF42}"/>
          </ac:spMkLst>
        </pc:spChg>
        <pc:spChg chg="mod">
          <ac:chgData name="Katerine Schifino" userId="37bb67de-9fcf-4611-888c-7e5b58184a2a" providerId="ADAL" clId="{DDC0AF11-2D61-425D-BC3E-9D410190C756}" dt="2022-06-02T19:41:23.226" v="1046" actId="1076"/>
          <ac:spMkLst>
            <pc:docMk/>
            <pc:sldMk cId="1081149190" sldId="2146846189"/>
            <ac:spMk id="16" creationId="{91ED6617-3ABA-4373-BEBF-8246874EC35C}"/>
          </ac:spMkLst>
        </pc:spChg>
        <pc:spChg chg="mod">
          <ac:chgData name="Katerine Schifino" userId="37bb67de-9fcf-4611-888c-7e5b58184a2a" providerId="ADAL" clId="{DDC0AF11-2D61-425D-BC3E-9D410190C756}" dt="2022-06-02T19:41:23.226" v="1046" actId="1076"/>
          <ac:spMkLst>
            <pc:docMk/>
            <pc:sldMk cId="1081149190" sldId="2146846189"/>
            <ac:spMk id="17" creationId="{C5F95D62-9EB9-4C01-AA92-4F34FF534393}"/>
          </ac:spMkLst>
        </pc:spChg>
        <pc:spChg chg="add del mod">
          <ac:chgData name="Katerine Schifino" userId="37bb67de-9fcf-4611-888c-7e5b58184a2a" providerId="ADAL" clId="{DDC0AF11-2D61-425D-BC3E-9D410190C756}" dt="2022-06-02T19:42:27.200" v="1067" actId="1076"/>
          <ac:spMkLst>
            <pc:docMk/>
            <pc:sldMk cId="1081149190" sldId="2146846189"/>
            <ac:spMk id="18" creationId="{99AAD9F0-114B-45A3-9537-8D6C6CD9F0E6}"/>
          </ac:spMkLst>
        </pc:spChg>
        <pc:spChg chg="add del mod">
          <ac:chgData name="Katerine Schifino" userId="37bb67de-9fcf-4611-888c-7e5b58184a2a" providerId="ADAL" clId="{DDC0AF11-2D61-425D-BC3E-9D410190C756}" dt="2022-06-02T19:42:21.201" v="1065" actId="1076"/>
          <ac:spMkLst>
            <pc:docMk/>
            <pc:sldMk cId="1081149190" sldId="2146846189"/>
            <ac:spMk id="19" creationId="{A29FCCBD-FF7B-4D38-BF7D-AE32D21EE252}"/>
          </ac:spMkLst>
        </pc:spChg>
        <pc:picChg chg="add mod">
          <ac:chgData name="Katerine Schifino" userId="37bb67de-9fcf-4611-888c-7e5b58184a2a" providerId="ADAL" clId="{DDC0AF11-2D61-425D-BC3E-9D410190C756}" dt="2022-06-02T19:49:08.047" v="1634" actId="1076"/>
          <ac:picMkLst>
            <pc:docMk/>
            <pc:sldMk cId="1081149190" sldId="2146846189"/>
            <ac:picMk id="4" creationId="{68DB47A6-0745-42FF-827F-0C8E345F3447}"/>
          </ac:picMkLst>
        </pc:picChg>
        <pc:picChg chg="mod">
          <ac:chgData name="Katerine Schifino" userId="37bb67de-9fcf-4611-888c-7e5b58184a2a" providerId="ADAL" clId="{DDC0AF11-2D61-425D-BC3E-9D410190C756}" dt="2022-06-02T19:41:23.226" v="1046" actId="1076"/>
          <ac:picMkLst>
            <pc:docMk/>
            <pc:sldMk cId="1081149190" sldId="2146846189"/>
            <ac:picMk id="7172" creationId="{06A482B7-E6CD-41B3-B2D4-F3755A7DBD26}"/>
          </ac:picMkLst>
        </pc:picChg>
        <pc:picChg chg="add del mod">
          <ac:chgData name="Katerine Schifino" userId="37bb67de-9fcf-4611-888c-7e5b58184a2a" providerId="ADAL" clId="{DDC0AF11-2D61-425D-BC3E-9D410190C756}" dt="2022-06-02T19:42:24.173" v="1066" actId="1076"/>
          <ac:picMkLst>
            <pc:docMk/>
            <pc:sldMk cId="1081149190" sldId="2146846189"/>
            <ac:picMk id="7174" creationId="{0AB49698-9015-49D0-955D-A25DBF1773F6}"/>
          </ac:picMkLst>
        </pc:picChg>
      </pc:sldChg>
      <pc:sldChg chg="addSp delSp modSp mod">
        <pc:chgData name="Katerine Schifino" userId="37bb67de-9fcf-4611-888c-7e5b58184a2a" providerId="ADAL" clId="{DDC0AF11-2D61-425D-BC3E-9D410190C756}" dt="2022-06-02T19:53:04.712" v="1861" actId="20577"/>
        <pc:sldMkLst>
          <pc:docMk/>
          <pc:sldMk cId="3146685949" sldId="2146846191"/>
        </pc:sldMkLst>
        <pc:spChg chg="add mod">
          <ac:chgData name="Katerine Schifino" userId="37bb67de-9fcf-4611-888c-7e5b58184a2a" providerId="ADAL" clId="{DDC0AF11-2D61-425D-BC3E-9D410190C756}" dt="2022-06-02T19:53:04.712" v="1861" actId="20577"/>
          <ac:spMkLst>
            <pc:docMk/>
            <pc:sldMk cId="3146685949" sldId="2146846191"/>
            <ac:spMk id="7" creationId="{85A4E73E-1135-4030-8A97-473FD45AF184}"/>
          </ac:spMkLst>
        </pc:spChg>
        <pc:spChg chg="del">
          <ac:chgData name="Katerine Schifino" userId="37bb67de-9fcf-4611-888c-7e5b58184a2a" providerId="ADAL" clId="{DDC0AF11-2D61-425D-BC3E-9D410190C756}" dt="2022-06-02T19:51:20.057" v="1639" actId="478"/>
          <ac:spMkLst>
            <pc:docMk/>
            <pc:sldMk cId="3146685949" sldId="2146846191"/>
            <ac:spMk id="39" creationId="{FBC5878A-8F0E-4D0D-81F1-E3C9A3E133CA}"/>
          </ac:spMkLst>
        </pc:spChg>
        <pc:picChg chg="del">
          <ac:chgData name="Katerine Schifino" userId="37bb67de-9fcf-4611-888c-7e5b58184a2a" providerId="ADAL" clId="{DDC0AF11-2D61-425D-BC3E-9D410190C756}" dt="2022-06-02T19:51:20.057" v="1639" actId="478"/>
          <ac:picMkLst>
            <pc:docMk/>
            <pc:sldMk cId="3146685949" sldId="2146846191"/>
            <ac:picMk id="25" creationId="{669ACA6D-D4AF-4EAD-BA9E-2B1AF82A8BE7}"/>
          </ac:picMkLst>
        </pc:picChg>
      </pc:sldChg>
      <pc:sldChg chg="addSp modSp mod">
        <pc:chgData name="Katerine Schifino" userId="37bb67de-9fcf-4611-888c-7e5b58184a2a" providerId="ADAL" clId="{DDC0AF11-2D61-425D-BC3E-9D410190C756}" dt="2022-06-02T19:57:29.004" v="2389" actId="14100"/>
        <pc:sldMkLst>
          <pc:docMk/>
          <pc:sldMk cId="2968486713" sldId="2146846192"/>
        </pc:sldMkLst>
        <pc:spChg chg="add mod">
          <ac:chgData name="Katerine Schifino" userId="37bb67de-9fcf-4611-888c-7e5b58184a2a" providerId="ADAL" clId="{DDC0AF11-2D61-425D-BC3E-9D410190C756}" dt="2022-06-02T19:57:00.481" v="2387" actId="20577"/>
          <ac:spMkLst>
            <pc:docMk/>
            <pc:sldMk cId="2968486713" sldId="2146846192"/>
            <ac:spMk id="11" creationId="{64CF57A6-DD70-460A-BD2E-5913258F58FA}"/>
          </ac:spMkLst>
        </pc:spChg>
        <pc:spChg chg="mod">
          <ac:chgData name="Katerine Schifino" userId="37bb67de-9fcf-4611-888c-7e5b58184a2a" providerId="ADAL" clId="{DDC0AF11-2D61-425D-BC3E-9D410190C756}" dt="2022-06-02T19:57:29.004" v="2389" actId="14100"/>
          <ac:spMkLst>
            <pc:docMk/>
            <pc:sldMk cId="2968486713" sldId="2146846192"/>
            <ac:spMk id="19" creationId="{96CAE5D9-122E-4FA6-A910-641FFE48A404}"/>
          </ac:spMkLst>
        </pc:spChg>
      </pc:sldChg>
      <pc:sldChg chg="addSp delSp modSp mod">
        <pc:chgData name="Katerine Schifino" userId="37bb67de-9fcf-4611-888c-7e5b58184a2a" providerId="ADAL" clId="{DDC0AF11-2D61-425D-BC3E-9D410190C756}" dt="2022-06-02T20:00:38.717" v="2776" actId="1076"/>
        <pc:sldMkLst>
          <pc:docMk/>
          <pc:sldMk cId="1662542093" sldId="2146846193"/>
        </pc:sldMkLst>
        <pc:spChg chg="add mod">
          <ac:chgData name="Katerine Schifino" userId="37bb67de-9fcf-4611-888c-7e5b58184a2a" providerId="ADAL" clId="{DDC0AF11-2D61-425D-BC3E-9D410190C756}" dt="2022-06-02T20:00:38.717" v="2776" actId="1076"/>
          <ac:spMkLst>
            <pc:docMk/>
            <pc:sldMk cId="1662542093" sldId="2146846193"/>
            <ac:spMk id="8" creationId="{11EF6F39-6065-403B-B3D8-2732572454CE}"/>
          </ac:spMkLst>
        </pc:spChg>
        <pc:graphicFrameChg chg="mod modGraphic">
          <ac:chgData name="Katerine Schifino" userId="37bb67de-9fcf-4611-888c-7e5b58184a2a" providerId="ADAL" clId="{DDC0AF11-2D61-425D-BC3E-9D410190C756}" dt="2022-06-02T19:58:41.178" v="2392" actId="14734"/>
          <ac:graphicFrameMkLst>
            <pc:docMk/>
            <pc:sldMk cId="1662542093" sldId="2146846193"/>
            <ac:graphicFrameMk id="3" creationId="{1FAC86E6-7510-4026-A4EF-EEA428280EC2}"/>
          </ac:graphicFrameMkLst>
        </pc:graphicFrameChg>
        <pc:picChg chg="del">
          <ac:chgData name="Katerine Schifino" userId="37bb67de-9fcf-4611-888c-7e5b58184a2a" providerId="ADAL" clId="{DDC0AF11-2D61-425D-BC3E-9D410190C756}" dt="2022-06-02T20:00:11.731" v="2746" actId="478"/>
          <ac:picMkLst>
            <pc:docMk/>
            <pc:sldMk cId="1662542093" sldId="2146846193"/>
            <ac:picMk id="21" creationId="{BDC809D2-4742-43D5-9208-60B7A46CDA84}"/>
          </ac:picMkLst>
        </pc:picChg>
      </pc:sldChg>
      <pc:sldChg chg="addSp modSp mod">
        <pc:chgData name="Katerine Schifino" userId="37bb67de-9fcf-4611-888c-7e5b58184a2a" providerId="ADAL" clId="{DDC0AF11-2D61-425D-BC3E-9D410190C756}" dt="2022-06-03T01:28:43.866" v="3091" actId="115"/>
        <pc:sldMkLst>
          <pc:docMk/>
          <pc:sldMk cId="1701351180" sldId="2146846200"/>
        </pc:sldMkLst>
        <pc:spChg chg="mod">
          <ac:chgData name="Katerine Schifino" userId="37bb67de-9fcf-4611-888c-7e5b58184a2a" providerId="ADAL" clId="{DDC0AF11-2D61-425D-BC3E-9D410190C756}" dt="2022-06-03T01:28:43.866" v="3091" actId="115"/>
          <ac:spMkLst>
            <pc:docMk/>
            <pc:sldMk cId="1701351180" sldId="2146846200"/>
            <ac:spMk id="7" creationId="{D26D72DD-8DF0-4733-A3C8-76B0DBD004B8}"/>
          </ac:spMkLst>
        </pc:spChg>
        <pc:spChg chg="mod">
          <ac:chgData name="Katerine Schifino" userId="37bb67de-9fcf-4611-888c-7e5b58184a2a" providerId="ADAL" clId="{DDC0AF11-2D61-425D-BC3E-9D410190C756}" dt="2022-06-03T01:24:57.695" v="2780" actId="14100"/>
          <ac:spMkLst>
            <pc:docMk/>
            <pc:sldMk cId="1701351180" sldId="2146846200"/>
            <ac:spMk id="23" creationId="{597FF9D1-F615-46B8-82C4-43A456BE5991}"/>
          </ac:spMkLst>
        </pc:spChg>
        <pc:spChg chg="add mod">
          <ac:chgData name="Katerine Schifino" userId="37bb67de-9fcf-4611-888c-7e5b58184a2a" providerId="ADAL" clId="{DDC0AF11-2D61-425D-BC3E-9D410190C756}" dt="2022-06-03T01:28:02.339" v="2977" actId="403"/>
          <ac:spMkLst>
            <pc:docMk/>
            <pc:sldMk cId="1701351180" sldId="2146846200"/>
            <ac:spMk id="25" creationId="{789CE95B-721A-4F1F-8954-186148AB7631}"/>
          </ac:spMkLst>
        </pc:spChg>
      </pc:sldChg>
      <pc:sldChg chg="addSp modSp mod">
        <pc:chgData name="Katerine Schifino" userId="37bb67de-9fcf-4611-888c-7e5b58184a2a" providerId="ADAL" clId="{DDC0AF11-2D61-425D-BC3E-9D410190C756}" dt="2022-06-03T01:30:25.138" v="3274" actId="20577"/>
        <pc:sldMkLst>
          <pc:docMk/>
          <pc:sldMk cId="3562627161" sldId="2146846201"/>
        </pc:sldMkLst>
        <pc:spChg chg="add mod">
          <ac:chgData name="Katerine Schifino" userId="37bb67de-9fcf-4611-888c-7e5b58184a2a" providerId="ADAL" clId="{DDC0AF11-2D61-425D-BC3E-9D410190C756}" dt="2022-06-03T01:30:25.138" v="3274" actId="20577"/>
          <ac:spMkLst>
            <pc:docMk/>
            <pc:sldMk cId="3562627161" sldId="2146846201"/>
            <ac:spMk id="15" creationId="{5675A197-C855-4AFE-9D4B-6D8F70DFB764}"/>
          </ac:spMkLst>
        </pc:spChg>
        <pc:spChg chg="mod">
          <ac:chgData name="Katerine Schifino" userId="37bb67de-9fcf-4611-888c-7e5b58184a2a" providerId="ADAL" clId="{DDC0AF11-2D61-425D-BC3E-9D410190C756}" dt="2022-06-03T01:29:31.144" v="3168" actId="14100"/>
          <ac:spMkLst>
            <pc:docMk/>
            <pc:sldMk cId="3562627161" sldId="2146846201"/>
            <ac:spMk id="33" creationId="{10C7C999-D5CA-41E2-875A-0022D5E8EF28}"/>
          </ac:spMkLst>
        </pc:spChg>
      </pc:sldChg>
      <pc:sldChg chg="addSp delSp modSp mod">
        <pc:chgData name="Katerine Schifino" userId="37bb67de-9fcf-4611-888c-7e5b58184a2a" providerId="ADAL" clId="{DDC0AF11-2D61-425D-BC3E-9D410190C756}" dt="2022-06-03T01:33:07.720" v="3622" actId="115"/>
        <pc:sldMkLst>
          <pc:docMk/>
          <pc:sldMk cId="3690015844" sldId="2146846202"/>
        </pc:sldMkLst>
        <pc:spChg chg="add mod">
          <ac:chgData name="Katerine Schifino" userId="37bb67de-9fcf-4611-888c-7e5b58184a2a" providerId="ADAL" clId="{DDC0AF11-2D61-425D-BC3E-9D410190C756}" dt="2022-06-03T01:31:51.302" v="3495" actId="14100"/>
          <ac:spMkLst>
            <pc:docMk/>
            <pc:sldMk cId="3690015844" sldId="2146846202"/>
            <ac:spMk id="11" creationId="{C6F62B88-042B-4A40-912D-4D2ACCD20AE2}"/>
          </ac:spMkLst>
        </pc:spChg>
        <pc:spChg chg="add mod">
          <ac:chgData name="Katerine Schifino" userId="37bb67de-9fcf-4611-888c-7e5b58184a2a" providerId="ADAL" clId="{DDC0AF11-2D61-425D-BC3E-9D410190C756}" dt="2022-06-03T01:33:07.720" v="3622" actId="115"/>
          <ac:spMkLst>
            <pc:docMk/>
            <pc:sldMk cId="3690015844" sldId="2146846202"/>
            <ac:spMk id="12" creationId="{CA5460F7-4308-4185-B28E-AC528C103344}"/>
          </ac:spMkLst>
        </pc:spChg>
        <pc:spChg chg="mod">
          <ac:chgData name="Katerine Schifino" userId="37bb67de-9fcf-4611-888c-7e5b58184a2a" providerId="ADAL" clId="{DDC0AF11-2D61-425D-BC3E-9D410190C756}" dt="2022-06-03T01:30:46.104" v="3275" actId="14100"/>
          <ac:spMkLst>
            <pc:docMk/>
            <pc:sldMk cId="3690015844" sldId="2146846202"/>
            <ac:spMk id="23" creationId="{597FF9D1-F615-46B8-82C4-43A456BE5991}"/>
          </ac:spMkLst>
        </pc:spChg>
        <pc:picChg chg="del">
          <ac:chgData name="Katerine Schifino" userId="37bb67de-9fcf-4611-888c-7e5b58184a2a" providerId="ADAL" clId="{DDC0AF11-2D61-425D-BC3E-9D410190C756}" dt="2022-06-03T01:32:00.550" v="3496" actId="478"/>
          <ac:picMkLst>
            <pc:docMk/>
            <pc:sldMk cId="3690015844" sldId="2146846202"/>
            <ac:picMk id="9220" creationId="{3E4CDDEB-CEED-4314-A149-F8BE3EFB4979}"/>
          </ac:picMkLst>
        </pc:picChg>
      </pc:sldChg>
      <pc:sldChg chg="addSp modSp mod">
        <pc:chgData name="Katerine Schifino" userId="37bb67de-9fcf-4611-888c-7e5b58184a2a" providerId="ADAL" clId="{DDC0AF11-2D61-425D-BC3E-9D410190C756}" dt="2022-06-24T15:31:15.710" v="4048" actId="1076"/>
        <pc:sldMkLst>
          <pc:docMk/>
          <pc:sldMk cId="3562794010" sldId="2146846203"/>
        </pc:sldMkLst>
        <pc:spChg chg="mod">
          <ac:chgData name="Katerine Schifino" userId="37bb67de-9fcf-4611-888c-7e5b58184a2a" providerId="ADAL" clId="{DDC0AF11-2D61-425D-BC3E-9D410190C756}" dt="2022-06-03T01:33:27.378" v="3624" actId="1076"/>
          <ac:spMkLst>
            <pc:docMk/>
            <pc:sldMk cId="3562794010" sldId="2146846203"/>
            <ac:spMk id="11" creationId="{41A23544-9FA8-46C1-A95B-36EDA981A4E4}"/>
          </ac:spMkLst>
        </pc:spChg>
        <pc:spChg chg="add mod">
          <ac:chgData name="Katerine Schifino" userId="37bb67de-9fcf-4611-888c-7e5b58184a2a" providerId="ADAL" clId="{DDC0AF11-2D61-425D-BC3E-9D410190C756}" dt="2022-06-24T15:31:15.710" v="4048" actId="1076"/>
          <ac:spMkLst>
            <pc:docMk/>
            <pc:sldMk cId="3562794010" sldId="2146846203"/>
            <ac:spMk id="13" creationId="{1DE8C1E9-3162-49D3-9A03-CCCEDDB52471}"/>
          </ac:spMkLst>
        </pc:spChg>
        <pc:spChg chg="add mod">
          <ac:chgData name="Katerine Schifino" userId="37bb67de-9fcf-4611-888c-7e5b58184a2a" providerId="ADAL" clId="{DDC0AF11-2D61-425D-BC3E-9D410190C756}" dt="2022-06-03T01:36:40.612" v="4044" actId="113"/>
          <ac:spMkLst>
            <pc:docMk/>
            <pc:sldMk cId="3562794010" sldId="2146846203"/>
            <ac:spMk id="15" creationId="{B6F07C70-591F-4054-B8C5-B6F38240DDD8}"/>
          </ac:spMkLst>
        </pc:spChg>
        <pc:spChg chg="mod">
          <ac:chgData name="Katerine Schifino" userId="37bb67de-9fcf-4611-888c-7e5b58184a2a" providerId="ADAL" clId="{DDC0AF11-2D61-425D-BC3E-9D410190C756}" dt="2022-06-03T01:35:29.327" v="3839" actId="6549"/>
          <ac:spMkLst>
            <pc:docMk/>
            <pc:sldMk cId="3562794010" sldId="2146846203"/>
            <ac:spMk id="16" creationId="{666C3C8E-749D-4A36-AEAE-692812982359}"/>
          </ac:spMkLst>
        </pc:spChg>
      </pc:sldChg>
      <pc:sldChg chg="addSp delSp modSp add mod modClrScheme chgLayout">
        <pc:chgData name="Katerine Schifino" userId="37bb67de-9fcf-4611-888c-7e5b58184a2a" providerId="ADAL" clId="{DDC0AF11-2D61-425D-BC3E-9D410190C756}" dt="2022-06-02T19:37:34.109" v="801" actId="1076"/>
        <pc:sldMkLst>
          <pc:docMk/>
          <pc:sldMk cId="3261464579" sldId="2146846204"/>
        </pc:sldMkLst>
        <pc:spChg chg="add mod">
          <ac:chgData name="Katerine Schifino" userId="37bb67de-9fcf-4611-888c-7e5b58184a2a" providerId="ADAL" clId="{DDC0AF11-2D61-425D-BC3E-9D410190C756}" dt="2022-06-02T19:35:06.418" v="427"/>
          <ac:spMkLst>
            <pc:docMk/>
            <pc:sldMk cId="3261464579" sldId="2146846204"/>
            <ac:spMk id="5" creationId="{4DD7FEEC-0773-44D1-9A60-54252FA5D7DB}"/>
          </ac:spMkLst>
        </pc:spChg>
        <pc:spChg chg="del">
          <ac:chgData name="Katerine Schifino" userId="37bb67de-9fcf-4611-888c-7e5b58184a2a" providerId="ADAL" clId="{DDC0AF11-2D61-425D-BC3E-9D410190C756}" dt="2022-06-02T19:35:06.072" v="426" actId="478"/>
          <ac:spMkLst>
            <pc:docMk/>
            <pc:sldMk cId="3261464579" sldId="2146846204"/>
            <ac:spMk id="6" creationId="{C3E24BFF-A0DB-4ECE-96D3-5EAB937B7323}"/>
          </ac:spMkLst>
        </pc:spChg>
        <pc:spChg chg="mod">
          <ac:chgData name="Katerine Schifino" userId="37bb67de-9fcf-4611-888c-7e5b58184a2a" providerId="ADAL" clId="{DDC0AF11-2D61-425D-BC3E-9D410190C756}" dt="2022-06-02T19:37:34.109" v="801" actId="1076"/>
          <ac:spMkLst>
            <pc:docMk/>
            <pc:sldMk cId="3261464579" sldId="2146846204"/>
            <ac:spMk id="8" creationId="{F3692B0D-82AC-41A6-A5BD-1A4B9AC9B985}"/>
          </ac:spMkLst>
        </pc:spChg>
      </pc:sldChg>
      <pc:sldChg chg="new del">
        <pc:chgData name="Katerine Schifino" userId="37bb67de-9fcf-4611-888c-7e5b58184a2a" providerId="ADAL" clId="{DDC0AF11-2D61-425D-BC3E-9D410190C756}" dt="2022-06-02T19:32:09.958" v="23" actId="680"/>
        <pc:sldMkLst>
          <pc:docMk/>
          <pc:sldMk cId="1192607335" sldId="2146846205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B34FA22-C699-4CE4-B99B-DF4CA460246A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O"/>
        </a:p>
      </dgm:t>
    </dgm:pt>
    <dgm:pt modelId="{DED85AAE-0B3A-440A-A091-81DDC9CCB698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400" b="1" i="0">
              <a:effectLst/>
              <a:latin typeface="Arial" panose="020B0604020202020204" pitchFamily="34" charset="0"/>
              <a:cs typeface="Arial" panose="020B0604020202020204" pitchFamily="34" charset="0"/>
            </a:rPr>
            <a:t>Who are you? </a:t>
          </a:r>
          <a:r>
            <a:rPr lang="en-US" sz="1400" b="0" i="0">
              <a:effectLst/>
              <a:latin typeface="Arial" panose="020B0604020202020204" pitchFamily="34" charset="0"/>
              <a:cs typeface="Arial" panose="020B0604020202020204" pitchFamily="34" charset="0"/>
            </a:rPr>
            <a:t>Write a sentence about yourself. For example, you could introduce yourself as a consultant to small entrepreneurs.</a:t>
          </a:r>
          <a:endParaRPr lang="es-CO" sz="1400" b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3FD7C51-ECF1-4AE0-89D1-BAD216764DBE}" type="parTrans" cxnId="{117BEF69-5EBB-49E8-9247-4DF549643A12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08CFD6-FB7A-46AF-BED8-3F9AD575FD2D}" type="sibTrans" cxnId="{117BEF69-5EBB-49E8-9247-4DF549643A12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F07DF63-6640-4C48-A051-4EF6C65DA59B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400" b="1" i="0">
              <a:effectLst/>
              <a:latin typeface="Arial" panose="020B0604020202020204" pitchFamily="34" charset="0"/>
              <a:cs typeface="Arial" panose="020B0604020202020204" pitchFamily="34" charset="0"/>
            </a:rPr>
            <a:t>What do you do or offer? </a:t>
          </a:r>
          <a:r>
            <a:rPr lang="en-US" sz="1400" b="0" i="0">
              <a:effectLst/>
              <a:latin typeface="Arial" panose="020B0604020202020204" pitchFamily="34" charset="0"/>
              <a:cs typeface="Arial" panose="020B0604020202020204" pitchFamily="34" charset="0"/>
            </a:rPr>
            <a:t>Using your product or service as a guide, write a sentence about what you do every day in your business. If your emphasis is on time-saving techniques, briefly lay out how your strategies work.</a:t>
          </a:r>
          <a:endParaRPr lang="es-CO" sz="1400" b="0" i="0">
            <a:effectLst/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BE9C55-8CAC-4709-8F96-03F3A1B80EB2}" type="parTrans" cxnId="{7D68C56F-0568-47A6-8080-E5BACDEF8EC0}">
      <dgm:prSet/>
      <dgm:spPr/>
      <dgm:t>
        <a:bodyPr/>
        <a:lstStyle/>
        <a:p>
          <a:endParaRPr lang="es-CO"/>
        </a:p>
      </dgm:t>
    </dgm:pt>
    <dgm:pt modelId="{BFE17BAB-D0B9-45BA-8A0A-CA57280B5D33}" type="sibTrans" cxnId="{7D68C56F-0568-47A6-8080-E5BACDEF8EC0}">
      <dgm:prSet/>
      <dgm:spPr/>
      <dgm:t>
        <a:bodyPr/>
        <a:lstStyle/>
        <a:p>
          <a:endParaRPr lang="es-CO"/>
        </a:p>
      </dgm:t>
    </dgm:pt>
    <dgm:pt modelId="{55FDEE54-4316-4C62-A339-1905B6CF7794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400" b="1" i="0">
              <a:effectLst/>
              <a:latin typeface="Arial" panose="020B0604020202020204" pitchFamily="34" charset="0"/>
              <a:cs typeface="Arial" panose="020B0604020202020204" pitchFamily="34" charset="0"/>
            </a:rPr>
            <a:t>What problem do you solve?</a:t>
          </a:r>
          <a:r>
            <a:rPr lang="en-US" sz="1400" b="0" i="0">
              <a:effectLst/>
              <a:latin typeface="Arial" panose="020B0604020202020204" pitchFamily="34" charset="0"/>
              <a:cs typeface="Arial" panose="020B0604020202020204" pitchFamily="34" charset="0"/>
            </a:rPr>
            <a:t> Identify the value you offer your customers. Avoid listing only their features and instead translate them into benefits.</a:t>
          </a:r>
          <a:endParaRPr lang="es-CO" sz="1400" b="0" i="0">
            <a:effectLst/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31B3FC-8811-467F-8036-504A3DC3061F}" type="parTrans" cxnId="{64D05CD1-BA50-41A9-B7E2-2B3D1E29E406}">
      <dgm:prSet/>
      <dgm:spPr/>
      <dgm:t>
        <a:bodyPr/>
        <a:lstStyle/>
        <a:p>
          <a:endParaRPr lang="es-CO"/>
        </a:p>
      </dgm:t>
    </dgm:pt>
    <dgm:pt modelId="{4FFC30AE-6C67-4E5E-ACD0-A6B9FEDF6D18}" type="sibTrans" cxnId="{64D05CD1-BA50-41A9-B7E2-2B3D1E29E406}">
      <dgm:prSet/>
      <dgm:spPr/>
      <dgm:t>
        <a:bodyPr/>
        <a:lstStyle/>
        <a:p>
          <a:endParaRPr lang="es-CO"/>
        </a:p>
      </dgm:t>
    </dgm:pt>
    <dgm:pt modelId="{3D9E2F6B-C757-4565-A011-ABE4341CF7E3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400" b="1" i="0">
              <a:effectLst/>
              <a:latin typeface="Arial" panose="020B0604020202020204" pitchFamily="34" charset="0"/>
              <a:cs typeface="Arial" panose="020B0604020202020204" pitchFamily="34" charset="0"/>
            </a:rPr>
            <a:t>How do you differ?</a:t>
          </a:r>
          <a:r>
            <a:rPr lang="en-US" sz="1400" b="0" i="0">
              <a:effectLst/>
              <a:latin typeface="Arial" panose="020B0604020202020204" pitchFamily="34" charset="0"/>
              <a:cs typeface="Arial" panose="020B0604020202020204" pitchFamily="34" charset="0"/>
            </a:rPr>
            <a:t> Write down what sets you apart from any other company. Maybe you've had relevant experiences and outperformed them yourself, or your company has a unique strategy</a:t>
          </a:r>
          <a:endParaRPr lang="es-CO" sz="1400" b="0" i="0">
            <a:effectLst/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441BAF7-8D70-48D1-BA52-1D84ED569E27}" type="parTrans" cxnId="{271E03D2-2367-41FD-801F-F5BAE834C4C0}">
      <dgm:prSet/>
      <dgm:spPr/>
      <dgm:t>
        <a:bodyPr/>
        <a:lstStyle/>
        <a:p>
          <a:endParaRPr lang="es-CO"/>
        </a:p>
      </dgm:t>
    </dgm:pt>
    <dgm:pt modelId="{E38A2984-7AA3-4A64-8A2E-F2E65D8CBAAC}" type="sibTrans" cxnId="{271E03D2-2367-41FD-801F-F5BAE834C4C0}">
      <dgm:prSet/>
      <dgm:spPr/>
      <dgm:t>
        <a:bodyPr/>
        <a:lstStyle/>
        <a:p>
          <a:endParaRPr lang="es-CO"/>
        </a:p>
      </dgm:t>
    </dgm:pt>
    <dgm:pt modelId="{27061578-2C2D-4DAE-93E2-CB8E5ED539AA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400" b="1" i="0">
              <a:effectLst/>
              <a:latin typeface="Arial" panose="020B0604020202020204" pitchFamily="34" charset="0"/>
              <a:cs typeface="Arial" panose="020B0604020202020204" pitchFamily="34" charset="0"/>
            </a:rPr>
            <a:t>Ask a question. </a:t>
          </a:r>
          <a:r>
            <a:rPr lang="en-US" sz="1400" b="0" i="0">
              <a:effectLst/>
              <a:latin typeface="Arial" panose="020B0604020202020204" pitchFamily="34" charset="0"/>
              <a:cs typeface="Arial" panose="020B0604020202020204" pitchFamily="34" charset="0"/>
            </a:rPr>
            <a:t>Elevator pitches are usually held at networking events, which means you need to be social and strike up a conversation. A good way to engage your listener is to ask a question that relates to them and your business.</a:t>
          </a:r>
          <a:endParaRPr lang="es-CO" sz="1400" b="0" i="0">
            <a:effectLst/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2512A28-586F-403D-A6A2-7874315FD783}" type="parTrans" cxnId="{5F5B9258-42BA-46AD-A2E9-B4596E1084D7}">
      <dgm:prSet/>
      <dgm:spPr/>
      <dgm:t>
        <a:bodyPr/>
        <a:lstStyle/>
        <a:p>
          <a:endParaRPr lang="es-CO"/>
        </a:p>
      </dgm:t>
    </dgm:pt>
    <dgm:pt modelId="{33D26D67-F397-471A-8C1D-F6FF9B5F2860}" type="sibTrans" cxnId="{5F5B9258-42BA-46AD-A2E9-B4596E1084D7}">
      <dgm:prSet/>
      <dgm:spPr/>
      <dgm:t>
        <a:bodyPr/>
        <a:lstStyle/>
        <a:p>
          <a:endParaRPr lang="es-CO"/>
        </a:p>
      </dgm:t>
    </dgm:pt>
    <dgm:pt modelId="{8BC3B06F-9B22-4732-916F-88FC35EB1892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400" b="1" i="0">
              <a:effectLst/>
              <a:latin typeface="Arial" panose="020B0604020202020204" pitchFamily="34" charset="0"/>
              <a:cs typeface="Arial" panose="020B0604020202020204" pitchFamily="34" charset="0"/>
            </a:rPr>
            <a:t>Make a call to action. </a:t>
          </a:r>
          <a:r>
            <a:rPr lang="en-US" sz="1400" b="0" i="0">
              <a:effectLst/>
              <a:latin typeface="Arial" panose="020B0604020202020204" pitchFamily="34" charset="0"/>
              <a:cs typeface="Arial" panose="020B0604020202020204" pitchFamily="34" charset="0"/>
            </a:rPr>
            <a:t>To conclude your speech, offer your interlocutors a call to action. Briefly tell your audience what they can do to follow and learn more about your business.</a:t>
          </a:r>
          <a:endParaRPr lang="es-CO" sz="1400" b="0" i="0">
            <a:effectLst/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5E4BC4C-F828-4CE3-BBB6-2BAF09DAF07F}" type="parTrans" cxnId="{232854E3-B1BB-4A92-9F87-556003E9431D}">
      <dgm:prSet/>
      <dgm:spPr/>
      <dgm:t>
        <a:bodyPr/>
        <a:lstStyle/>
        <a:p>
          <a:endParaRPr lang="es-CO"/>
        </a:p>
      </dgm:t>
    </dgm:pt>
    <dgm:pt modelId="{AA157021-A554-45A8-9FBB-A11732FBAF3E}" type="sibTrans" cxnId="{232854E3-B1BB-4A92-9F87-556003E9431D}">
      <dgm:prSet/>
      <dgm:spPr/>
      <dgm:t>
        <a:bodyPr/>
        <a:lstStyle/>
        <a:p>
          <a:endParaRPr lang="es-CO"/>
        </a:p>
      </dgm:t>
    </dgm:pt>
    <dgm:pt modelId="{039E7E48-DC7D-464B-BDEB-A75BA583ABB4}" type="pres">
      <dgm:prSet presAssocID="{3B34FA22-C699-4CE4-B99B-DF4CA460246A}" presName="Name0" presStyleCnt="0">
        <dgm:presLayoutVars>
          <dgm:chMax val="7"/>
          <dgm:chPref val="7"/>
          <dgm:dir/>
        </dgm:presLayoutVars>
      </dgm:prSet>
      <dgm:spPr/>
    </dgm:pt>
    <dgm:pt modelId="{7CD93213-7397-4B04-AB76-FAAA71679A3E}" type="pres">
      <dgm:prSet presAssocID="{3B34FA22-C699-4CE4-B99B-DF4CA460246A}" presName="Name1" presStyleCnt="0"/>
      <dgm:spPr/>
    </dgm:pt>
    <dgm:pt modelId="{4E058D9B-DC5C-41AC-8F39-4E0EA2B2EE72}" type="pres">
      <dgm:prSet presAssocID="{3B34FA22-C699-4CE4-B99B-DF4CA460246A}" presName="cycle" presStyleCnt="0"/>
      <dgm:spPr/>
    </dgm:pt>
    <dgm:pt modelId="{0E387ABE-49EF-47FF-898C-9254A59540D4}" type="pres">
      <dgm:prSet presAssocID="{3B34FA22-C699-4CE4-B99B-DF4CA460246A}" presName="srcNode" presStyleLbl="node1" presStyleIdx="0" presStyleCnt="6"/>
      <dgm:spPr/>
    </dgm:pt>
    <dgm:pt modelId="{5D702936-E4FA-4019-A72A-21728BC98C33}" type="pres">
      <dgm:prSet presAssocID="{3B34FA22-C699-4CE4-B99B-DF4CA460246A}" presName="conn" presStyleLbl="parChTrans1D2" presStyleIdx="0" presStyleCnt="1"/>
      <dgm:spPr/>
    </dgm:pt>
    <dgm:pt modelId="{38AAF6A4-4B43-4425-AD0F-AF7067A27ED5}" type="pres">
      <dgm:prSet presAssocID="{3B34FA22-C699-4CE4-B99B-DF4CA460246A}" presName="extraNode" presStyleLbl="node1" presStyleIdx="0" presStyleCnt="6"/>
      <dgm:spPr/>
    </dgm:pt>
    <dgm:pt modelId="{CC365097-6F7F-48A4-BE33-35CD6F9FDC75}" type="pres">
      <dgm:prSet presAssocID="{3B34FA22-C699-4CE4-B99B-DF4CA460246A}" presName="dstNode" presStyleLbl="node1" presStyleIdx="0" presStyleCnt="6"/>
      <dgm:spPr/>
    </dgm:pt>
    <dgm:pt modelId="{B778E06A-BF48-4327-B289-35215ED7D018}" type="pres">
      <dgm:prSet presAssocID="{DED85AAE-0B3A-440A-A091-81DDC9CCB698}" presName="text_1" presStyleLbl="node1" presStyleIdx="0" presStyleCnt="6">
        <dgm:presLayoutVars>
          <dgm:bulletEnabled val="1"/>
        </dgm:presLayoutVars>
      </dgm:prSet>
      <dgm:spPr/>
    </dgm:pt>
    <dgm:pt modelId="{D632F8C8-2210-49F4-86E1-4138A8224816}" type="pres">
      <dgm:prSet presAssocID="{DED85AAE-0B3A-440A-A091-81DDC9CCB698}" presName="accent_1" presStyleCnt="0"/>
      <dgm:spPr/>
    </dgm:pt>
    <dgm:pt modelId="{46BBBD3E-8152-4C45-8412-F3ED8435D29C}" type="pres">
      <dgm:prSet presAssocID="{DED85AAE-0B3A-440A-A091-81DDC9CCB698}" presName="accentRepeatNode" presStyleLbl="solidFgAcc1" presStyleIdx="0" presStyleCnt="6"/>
      <dgm:spPr/>
    </dgm:pt>
    <dgm:pt modelId="{BB3A928E-873A-4C0D-8434-A7F287664737}" type="pres">
      <dgm:prSet presAssocID="{5F07DF63-6640-4C48-A051-4EF6C65DA59B}" presName="text_2" presStyleLbl="node1" presStyleIdx="1" presStyleCnt="6">
        <dgm:presLayoutVars>
          <dgm:bulletEnabled val="1"/>
        </dgm:presLayoutVars>
      </dgm:prSet>
      <dgm:spPr/>
    </dgm:pt>
    <dgm:pt modelId="{48D02E8F-2EB3-45AB-90E7-79D4197703C2}" type="pres">
      <dgm:prSet presAssocID="{5F07DF63-6640-4C48-A051-4EF6C65DA59B}" presName="accent_2" presStyleCnt="0"/>
      <dgm:spPr/>
    </dgm:pt>
    <dgm:pt modelId="{37162E69-34F5-403B-B007-F726A37DB1B5}" type="pres">
      <dgm:prSet presAssocID="{5F07DF63-6640-4C48-A051-4EF6C65DA59B}" presName="accentRepeatNode" presStyleLbl="solidFgAcc1" presStyleIdx="1" presStyleCnt="6"/>
      <dgm:spPr/>
    </dgm:pt>
    <dgm:pt modelId="{AC1C25F7-A4BA-4A5F-9499-9DCD9DCEBE63}" type="pres">
      <dgm:prSet presAssocID="{55FDEE54-4316-4C62-A339-1905B6CF7794}" presName="text_3" presStyleLbl="node1" presStyleIdx="2" presStyleCnt="6">
        <dgm:presLayoutVars>
          <dgm:bulletEnabled val="1"/>
        </dgm:presLayoutVars>
      </dgm:prSet>
      <dgm:spPr/>
    </dgm:pt>
    <dgm:pt modelId="{48D424FA-823A-4A17-BB6D-626D567081E7}" type="pres">
      <dgm:prSet presAssocID="{55FDEE54-4316-4C62-A339-1905B6CF7794}" presName="accent_3" presStyleCnt="0"/>
      <dgm:spPr/>
    </dgm:pt>
    <dgm:pt modelId="{9864AB5B-A3EB-43BB-AEA6-A8966C0821F4}" type="pres">
      <dgm:prSet presAssocID="{55FDEE54-4316-4C62-A339-1905B6CF7794}" presName="accentRepeatNode" presStyleLbl="solidFgAcc1" presStyleIdx="2" presStyleCnt="6"/>
      <dgm:spPr/>
    </dgm:pt>
    <dgm:pt modelId="{FA294F8B-FFFB-4296-99AF-50E66F275E73}" type="pres">
      <dgm:prSet presAssocID="{3D9E2F6B-C757-4565-A011-ABE4341CF7E3}" presName="text_4" presStyleLbl="node1" presStyleIdx="3" presStyleCnt="6">
        <dgm:presLayoutVars>
          <dgm:bulletEnabled val="1"/>
        </dgm:presLayoutVars>
      </dgm:prSet>
      <dgm:spPr/>
    </dgm:pt>
    <dgm:pt modelId="{6A9D4113-F766-4520-99DF-1417A99687E3}" type="pres">
      <dgm:prSet presAssocID="{3D9E2F6B-C757-4565-A011-ABE4341CF7E3}" presName="accent_4" presStyleCnt="0"/>
      <dgm:spPr/>
    </dgm:pt>
    <dgm:pt modelId="{1C9A8794-242D-4744-B0C6-8B1AFAEDD63A}" type="pres">
      <dgm:prSet presAssocID="{3D9E2F6B-C757-4565-A011-ABE4341CF7E3}" presName="accentRepeatNode" presStyleLbl="solidFgAcc1" presStyleIdx="3" presStyleCnt="6"/>
      <dgm:spPr/>
    </dgm:pt>
    <dgm:pt modelId="{7AFD53F2-C7DE-444A-ACE3-41510BD07A62}" type="pres">
      <dgm:prSet presAssocID="{27061578-2C2D-4DAE-93E2-CB8E5ED539AA}" presName="text_5" presStyleLbl="node1" presStyleIdx="4" presStyleCnt="6">
        <dgm:presLayoutVars>
          <dgm:bulletEnabled val="1"/>
        </dgm:presLayoutVars>
      </dgm:prSet>
      <dgm:spPr/>
    </dgm:pt>
    <dgm:pt modelId="{B6BADD2A-8DE3-4CA8-85BA-AAED3A5B7CD1}" type="pres">
      <dgm:prSet presAssocID="{27061578-2C2D-4DAE-93E2-CB8E5ED539AA}" presName="accent_5" presStyleCnt="0"/>
      <dgm:spPr/>
    </dgm:pt>
    <dgm:pt modelId="{EE188F2E-826C-4D10-A917-70BF2A5EB9C0}" type="pres">
      <dgm:prSet presAssocID="{27061578-2C2D-4DAE-93E2-CB8E5ED539AA}" presName="accentRepeatNode" presStyleLbl="solidFgAcc1" presStyleIdx="4" presStyleCnt="6"/>
      <dgm:spPr/>
    </dgm:pt>
    <dgm:pt modelId="{8F859FC2-ADA8-47C5-BEB0-79599B1DB231}" type="pres">
      <dgm:prSet presAssocID="{8BC3B06F-9B22-4732-916F-88FC35EB1892}" presName="text_6" presStyleLbl="node1" presStyleIdx="5" presStyleCnt="6">
        <dgm:presLayoutVars>
          <dgm:bulletEnabled val="1"/>
        </dgm:presLayoutVars>
      </dgm:prSet>
      <dgm:spPr/>
    </dgm:pt>
    <dgm:pt modelId="{E1E38CF5-1D64-418E-8648-B12EAB0955EF}" type="pres">
      <dgm:prSet presAssocID="{8BC3B06F-9B22-4732-916F-88FC35EB1892}" presName="accent_6" presStyleCnt="0"/>
      <dgm:spPr/>
    </dgm:pt>
    <dgm:pt modelId="{1958F9FF-8501-4AAE-946E-1DD9379EE438}" type="pres">
      <dgm:prSet presAssocID="{8BC3B06F-9B22-4732-916F-88FC35EB1892}" presName="accentRepeatNode" presStyleLbl="solidFgAcc1" presStyleIdx="5" presStyleCnt="6"/>
      <dgm:spPr/>
    </dgm:pt>
  </dgm:ptLst>
  <dgm:cxnLst>
    <dgm:cxn modelId="{80DC9403-3307-4E1F-9767-17203A905FCB}" type="presOf" srcId="{55FDEE54-4316-4C62-A339-1905B6CF7794}" destId="{AC1C25F7-A4BA-4A5F-9499-9DCD9DCEBE63}" srcOrd="0" destOrd="0" presId="urn:microsoft.com/office/officeart/2008/layout/VerticalCurvedList"/>
    <dgm:cxn modelId="{C0F2B414-6EAC-4070-9446-D58F1B08C17B}" type="presOf" srcId="{27061578-2C2D-4DAE-93E2-CB8E5ED539AA}" destId="{7AFD53F2-C7DE-444A-ACE3-41510BD07A62}" srcOrd="0" destOrd="0" presId="urn:microsoft.com/office/officeart/2008/layout/VerticalCurvedList"/>
    <dgm:cxn modelId="{117BEF69-5EBB-49E8-9247-4DF549643A12}" srcId="{3B34FA22-C699-4CE4-B99B-DF4CA460246A}" destId="{DED85AAE-0B3A-440A-A091-81DDC9CCB698}" srcOrd="0" destOrd="0" parTransId="{93FD7C51-ECF1-4AE0-89D1-BAD216764DBE}" sibTransId="{1808CFD6-FB7A-46AF-BED8-3F9AD575FD2D}"/>
    <dgm:cxn modelId="{7D68C56F-0568-47A6-8080-E5BACDEF8EC0}" srcId="{3B34FA22-C699-4CE4-B99B-DF4CA460246A}" destId="{5F07DF63-6640-4C48-A051-4EF6C65DA59B}" srcOrd="1" destOrd="0" parTransId="{4ABE9C55-8CAC-4709-8F96-03F3A1B80EB2}" sibTransId="{BFE17BAB-D0B9-45BA-8A0A-CA57280B5D33}"/>
    <dgm:cxn modelId="{8E64C654-0F75-438D-ACE4-571D2708243B}" type="presOf" srcId="{5F07DF63-6640-4C48-A051-4EF6C65DA59B}" destId="{BB3A928E-873A-4C0D-8434-A7F287664737}" srcOrd="0" destOrd="0" presId="urn:microsoft.com/office/officeart/2008/layout/VerticalCurvedList"/>
    <dgm:cxn modelId="{5F5B9258-42BA-46AD-A2E9-B4596E1084D7}" srcId="{3B34FA22-C699-4CE4-B99B-DF4CA460246A}" destId="{27061578-2C2D-4DAE-93E2-CB8E5ED539AA}" srcOrd="4" destOrd="0" parTransId="{B2512A28-586F-403D-A6A2-7874315FD783}" sibTransId="{33D26D67-F397-471A-8C1D-F6FF9B5F2860}"/>
    <dgm:cxn modelId="{E9293C80-D042-40CC-8E61-4F8CB01EC023}" type="presOf" srcId="{3D9E2F6B-C757-4565-A011-ABE4341CF7E3}" destId="{FA294F8B-FFFB-4296-99AF-50E66F275E73}" srcOrd="0" destOrd="0" presId="urn:microsoft.com/office/officeart/2008/layout/VerticalCurvedList"/>
    <dgm:cxn modelId="{6B707091-4218-4CF4-ABAB-1DB02D7B3D7A}" type="presOf" srcId="{1808CFD6-FB7A-46AF-BED8-3F9AD575FD2D}" destId="{5D702936-E4FA-4019-A72A-21728BC98C33}" srcOrd="0" destOrd="0" presId="urn:microsoft.com/office/officeart/2008/layout/VerticalCurvedList"/>
    <dgm:cxn modelId="{EF8B3C9A-CFBA-469B-B128-C7DA2FB7C6D1}" type="presOf" srcId="{3B34FA22-C699-4CE4-B99B-DF4CA460246A}" destId="{039E7E48-DC7D-464B-BDEB-A75BA583ABB4}" srcOrd="0" destOrd="0" presId="urn:microsoft.com/office/officeart/2008/layout/VerticalCurvedList"/>
    <dgm:cxn modelId="{616C4FA6-1227-4A5A-92BC-A7C3025D8809}" type="presOf" srcId="{8BC3B06F-9B22-4732-916F-88FC35EB1892}" destId="{8F859FC2-ADA8-47C5-BEB0-79599B1DB231}" srcOrd="0" destOrd="0" presId="urn:microsoft.com/office/officeart/2008/layout/VerticalCurvedList"/>
    <dgm:cxn modelId="{64D05CD1-BA50-41A9-B7E2-2B3D1E29E406}" srcId="{3B34FA22-C699-4CE4-B99B-DF4CA460246A}" destId="{55FDEE54-4316-4C62-A339-1905B6CF7794}" srcOrd="2" destOrd="0" parTransId="{6D31B3FC-8811-467F-8036-504A3DC3061F}" sibTransId="{4FFC30AE-6C67-4E5E-ACD0-A6B9FEDF6D18}"/>
    <dgm:cxn modelId="{271E03D2-2367-41FD-801F-F5BAE834C4C0}" srcId="{3B34FA22-C699-4CE4-B99B-DF4CA460246A}" destId="{3D9E2F6B-C757-4565-A011-ABE4341CF7E3}" srcOrd="3" destOrd="0" parTransId="{F441BAF7-8D70-48D1-BA52-1D84ED569E27}" sibTransId="{E38A2984-7AA3-4A64-8A2E-F2E65D8CBAAC}"/>
    <dgm:cxn modelId="{20C530DF-2E07-4843-9A95-CD37990B8025}" type="presOf" srcId="{DED85AAE-0B3A-440A-A091-81DDC9CCB698}" destId="{B778E06A-BF48-4327-B289-35215ED7D018}" srcOrd="0" destOrd="0" presId="urn:microsoft.com/office/officeart/2008/layout/VerticalCurvedList"/>
    <dgm:cxn modelId="{232854E3-B1BB-4A92-9F87-556003E9431D}" srcId="{3B34FA22-C699-4CE4-B99B-DF4CA460246A}" destId="{8BC3B06F-9B22-4732-916F-88FC35EB1892}" srcOrd="5" destOrd="0" parTransId="{D5E4BC4C-F828-4CE3-BBB6-2BAF09DAF07F}" sibTransId="{AA157021-A554-45A8-9FBB-A11732FBAF3E}"/>
    <dgm:cxn modelId="{996C0E10-BBF0-432F-8B88-038A57E5E28E}" type="presParOf" srcId="{039E7E48-DC7D-464B-BDEB-A75BA583ABB4}" destId="{7CD93213-7397-4B04-AB76-FAAA71679A3E}" srcOrd="0" destOrd="0" presId="urn:microsoft.com/office/officeart/2008/layout/VerticalCurvedList"/>
    <dgm:cxn modelId="{EF5FCB45-174C-4406-89D9-51A7D0C04942}" type="presParOf" srcId="{7CD93213-7397-4B04-AB76-FAAA71679A3E}" destId="{4E058D9B-DC5C-41AC-8F39-4E0EA2B2EE72}" srcOrd="0" destOrd="0" presId="urn:microsoft.com/office/officeart/2008/layout/VerticalCurvedList"/>
    <dgm:cxn modelId="{44956D27-4F4B-4A44-BFC9-329573A4BD22}" type="presParOf" srcId="{4E058D9B-DC5C-41AC-8F39-4E0EA2B2EE72}" destId="{0E387ABE-49EF-47FF-898C-9254A59540D4}" srcOrd="0" destOrd="0" presId="urn:microsoft.com/office/officeart/2008/layout/VerticalCurvedList"/>
    <dgm:cxn modelId="{325B3062-2F81-4B59-BE2E-9E6830A7DD62}" type="presParOf" srcId="{4E058D9B-DC5C-41AC-8F39-4E0EA2B2EE72}" destId="{5D702936-E4FA-4019-A72A-21728BC98C33}" srcOrd="1" destOrd="0" presId="urn:microsoft.com/office/officeart/2008/layout/VerticalCurvedList"/>
    <dgm:cxn modelId="{1FAB9864-E809-44ED-AE8E-2FA7C6D40AD2}" type="presParOf" srcId="{4E058D9B-DC5C-41AC-8F39-4E0EA2B2EE72}" destId="{38AAF6A4-4B43-4425-AD0F-AF7067A27ED5}" srcOrd="2" destOrd="0" presId="urn:microsoft.com/office/officeart/2008/layout/VerticalCurvedList"/>
    <dgm:cxn modelId="{A2A9150B-1A5A-48E2-9E03-E65AD89C9807}" type="presParOf" srcId="{4E058D9B-DC5C-41AC-8F39-4E0EA2B2EE72}" destId="{CC365097-6F7F-48A4-BE33-35CD6F9FDC75}" srcOrd="3" destOrd="0" presId="urn:microsoft.com/office/officeart/2008/layout/VerticalCurvedList"/>
    <dgm:cxn modelId="{E1B9E832-8EF9-47C7-AEBC-526AA5F40F3F}" type="presParOf" srcId="{7CD93213-7397-4B04-AB76-FAAA71679A3E}" destId="{B778E06A-BF48-4327-B289-35215ED7D018}" srcOrd="1" destOrd="0" presId="urn:microsoft.com/office/officeart/2008/layout/VerticalCurvedList"/>
    <dgm:cxn modelId="{8F377C7B-9D22-4EA2-9B2C-6C706214B97B}" type="presParOf" srcId="{7CD93213-7397-4B04-AB76-FAAA71679A3E}" destId="{D632F8C8-2210-49F4-86E1-4138A8224816}" srcOrd="2" destOrd="0" presId="urn:microsoft.com/office/officeart/2008/layout/VerticalCurvedList"/>
    <dgm:cxn modelId="{DA54DB51-4CE4-4F98-A09F-AFABEE04894B}" type="presParOf" srcId="{D632F8C8-2210-49F4-86E1-4138A8224816}" destId="{46BBBD3E-8152-4C45-8412-F3ED8435D29C}" srcOrd="0" destOrd="0" presId="urn:microsoft.com/office/officeart/2008/layout/VerticalCurvedList"/>
    <dgm:cxn modelId="{9169DCFA-EF2B-45C2-9026-79FB879B1DBD}" type="presParOf" srcId="{7CD93213-7397-4B04-AB76-FAAA71679A3E}" destId="{BB3A928E-873A-4C0D-8434-A7F287664737}" srcOrd="3" destOrd="0" presId="urn:microsoft.com/office/officeart/2008/layout/VerticalCurvedList"/>
    <dgm:cxn modelId="{1C78D041-ACA4-48CD-940A-4E08E0A1E51D}" type="presParOf" srcId="{7CD93213-7397-4B04-AB76-FAAA71679A3E}" destId="{48D02E8F-2EB3-45AB-90E7-79D4197703C2}" srcOrd="4" destOrd="0" presId="urn:microsoft.com/office/officeart/2008/layout/VerticalCurvedList"/>
    <dgm:cxn modelId="{7491FD0D-A3B2-4F06-AAB8-F9375CBCA2E6}" type="presParOf" srcId="{48D02E8F-2EB3-45AB-90E7-79D4197703C2}" destId="{37162E69-34F5-403B-B007-F726A37DB1B5}" srcOrd="0" destOrd="0" presId="urn:microsoft.com/office/officeart/2008/layout/VerticalCurvedList"/>
    <dgm:cxn modelId="{EA08A1EF-11E7-4FA2-9F4B-F7D07D5C3459}" type="presParOf" srcId="{7CD93213-7397-4B04-AB76-FAAA71679A3E}" destId="{AC1C25F7-A4BA-4A5F-9499-9DCD9DCEBE63}" srcOrd="5" destOrd="0" presId="urn:microsoft.com/office/officeart/2008/layout/VerticalCurvedList"/>
    <dgm:cxn modelId="{20FD3D2D-F437-473D-856B-E365B1630C26}" type="presParOf" srcId="{7CD93213-7397-4B04-AB76-FAAA71679A3E}" destId="{48D424FA-823A-4A17-BB6D-626D567081E7}" srcOrd="6" destOrd="0" presId="urn:microsoft.com/office/officeart/2008/layout/VerticalCurvedList"/>
    <dgm:cxn modelId="{67747957-34DA-45B9-A965-B501E13F336A}" type="presParOf" srcId="{48D424FA-823A-4A17-BB6D-626D567081E7}" destId="{9864AB5B-A3EB-43BB-AEA6-A8966C0821F4}" srcOrd="0" destOrd="0" presId="urn:microsoft.com/office/officeart/2008/layout/VerticalCurvedList"/>
    <dgm:cxn modelId="{574257E4-E9FC-4384-B515-0CFCD85890E1}" type="presParOf" srcId="{7CD93213-7397-4B04-AB76-FAAA71679A3E}" destId="{FA294F8B-FFFB-4296-99AF-50E66F275E73}" srcOrd="7" destOrd="0" presId="urn:microsoft.com/office/officeart/2008/layout/VerticalCurvedList"/>
    <dgm:cxn modelId="{182C2A34-38EE-4698-8585-3DA34FB7247D}" type="presParOf" srcId="{7CD93213-7397-4B04-AB76-FAAA71679A3E}" destId="{6A9D4113-F766-4520-99DF-1417A99687E3}" srcOrd="8" destOrd="0" presId="urn:microsoft.com/office/officeart/2008/layout/VerticalCurvedList"/>
    <dgm:cxn modelId="{3337A33C-425A-4BEE-A50D-77D6BC2977A2}" type="presParOf" srcId="{6A9D4113-F766-4520-99DF-1417A99687E3}" destId="{1C9A8794-242D-4744-B0C6-8B1AFAEDD63A}" srcOrd="0" destOrd="0" presId="urn:microsoft.com/office/officeart/2008/layout/VerticalCurvedList"/>
    <dgm:cxn modelId="{067C5D8C-9728-45CD-A650-B688338A0B57}" type="presParOf" srcId="{7CD93213-7397-4B04-AB76-FAAA71679A3E}" destId="{7AFD53F2-C7DE-444A-ACE3-41510BD07A62}" srcOrd="9" destOrd="0" presId="urn:microsoft.com/office/officeart/2008/layout/VerticalCurvedList"/>
    <dgm:cxn modelId="{8F029C04-FD75-4413-AA08-B478CB4A0649}" type="presParOf" srcId="{7CD93213-7397-4B04-AB76-FAAA71679A3E}" destId="{B6BADD2A-8DE3-4CA8-85BA-AAED3A5B7CD1}" srcOrd="10" destOrd="0" presId="urn:microsoft.com/office/officeart/2008/layout/VerticalCurvedList"/>
    <dgm:cxn modelId="{C58CB6EC-A817-40F7-B8E9-4D69CFEA9E6B}" type="presParOf" srcId="{B6BADD2A-8DE3-4CA8-85BA-AAED3A5B7CD1}" destId="{EE188F2E-826C-4D10-A917-70BF2A5EB9C0}" srcOrd="0" destOrd="0" presId="urn:microsoft.com/office/officeart/2008/layout/VerticalCurvedList"/>
    <dgm:cxn modelId="{46D3B15A-C9F7-4022-88FF-D53F3AF75D27}" type="presParOf" srcId="{7CD93213-7397-4B04-AB76-FAAA71679A3E}" destId="{8F859FC2-ADA8-47C5-BEB0-79599B1DB231}" srcOrd="11" destOrd="0" presId="urn:microsoft.com/office/officeart/2008/layout/VerticalCurvedList"/>
    <dgm:cxn modelId="{3F61B087-2246-4949-8D08-D9B619F8B2ED}" type="presParOf" srcId="{7CD93213-7397-4B04-AB76-FAAA71679A3E}" destId="{E1E38CF5-1D64-418E-8648-B12EAB0955EF}" srcOrd="12" destOrd="0" presId="urn:microsoft.com/office/officeart/2008/layout/VerticalCurvedList"/>
    <dgm:cxn modelId="{FA4D2EE1-A03E-4D5D-9154-FFBA59F8BF42}" type="presParOf" srcId="{E1E38CF5-1D64-418E-8648-B12EAB0955EF}" destId="{1958F9FF-8501-4AAE-946E-1DD9379EE43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702936-E4FA-4019-A72A-21728BC98C33}">
      <dsp:nvSpPr>
        <dsp:cNvPr id="0" name=""/>
        <dsp:cNvSpPr/>
      </dsp:nvSpPr>
      <dsp:spPr>
        <a:xfrm>
          <a:off x="-6504312" y="-994775"/>
          <a:ext cx="7741731" cy="7741731"/>
        </a:xfrm>
        <a:prstGeom prst="blockArc">
          <a:avLst>
            <a:gd name="adj1" fmla="val 18900000"/>
            <a:gd name="adj2" fmla="val 2700000"/>
            <a:gd name="adj3" fmla="val 279"/>
          </a:avLst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78E06A-BF48-4327-B289-35215ED7D018}">
      <dsp:nvSpPr>
        <dsp:cNvPr id="0" name=""/>
        <dsp:cNvSpPr/>
      </dsp:nvSpPr>
      <dsp:spPr>
        <a:xfrm>
          <a:off x="460581" y="302909"/>
          <a:ext cx="8545763" cy="60558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400" b="1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Who are you? </a:t>
          </a:r>
          <a:r>
            <a:rPr lang="en-US" sz="1400" b="0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Write a sentence about yourself. For example, you could introduce yourself as a consultant to small entrepreneurs.</a:t>
          </a:r>
          <a:endParaRPr lang="es-CO" sz="1400" b="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60581" y="302909"/>
        <a:ext cx="8545763" cy="605589"/>
      </dsp:txXfrm>
    </dsp:sp>
    <dsp:sp modelId="{46BBBD3E-8152-4C45-8412-F3ED8435D29C}">
      <dsp:nvSpPr>
        <dsp:cNvPr id="0" name=""/>
        <dsp:cNvSpPr/>
      </dsp:nvSpPr>
      <dsp:spPr>
        <a:xfrm>
          <a:off x="82087" y="227211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3A928E-873A-4C0D-8434-A7F287664737}">
      <dsp:nvSpPr>
        <dsp:cNvPr id="0" name=""/>
        <dsp:cNvSpPr/>
      </dsp:nvSpPr>
      <dsp:spPr>
        <a:xfrm>
          <a:off x="958719" y="1211179"/>
          <a:ext cx="8047624" cy="605589"/>
        </a:xfrm>
        <a:prstGeom prst="rect">
          <a:avLst/>
        </a:prstGeom>
        <a:solidFill>
          <a:schemeClr val="accent4">
            <a:hueOff val="-3106208"/>
            <a:satOff val="4155"/>
            <a:lumOff val="607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400" b="1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What do you do or offer? </a:t>
          </a:r>
          <a:r>
            <a:rPr lang="en-US" sz="1400" b="0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Using your product or service as a guide, write a sentence about what you do every day in your business. If your emphasis is on time-saving techniques, briefly lay out how your strategies work.</a:t>
          </a:r>
          <a:endParaRPr lang="es-CO" sz="1400" b="0" i="0" kern="1200">
            <a:effectLst/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58719" y="1211179"/>
        <a:ext cx="8047624" cy="605589"/>
      </dsp:txXfrm>
    </dsp:sp>
    <dsp:sp modelId="{37162E69-34F5-403B-B007-F726A37DB1B5}">
      <dsp:nvSpPr>
        <dsp:cNvPr id="0" name=""/>
        <dsp:cNvSpPr/>
      </dsp:nvSpPr>
      <dsp:spPr>
        <a:xfrm>
          <a:off x="580226" y="1135480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3106208"/>
              <a:satOff val="4155"/>
              <a:lumOff val="607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1C25F7-A4BA-4A5F-9499-9DCD9DCEBE63}">
      <dsp:nvSpPr>
        <dsp:cNvPr id="0" name=""/>
        <dsp:cNvSpPr/>
      </dsp:nvSpPr>
      <dsp:spPr>
        <a:xfrm>
          <a:off x="1186506" y="2119448"/>
          <a:ext cx="7819838" cy="605589"/>
        </a:xfrm>
        <a:prstGeom prst="rect">
          <a:avLst/>
        </a:prstGeom>
        <a:solidFill>
          <a:schemeClr val="accent4">
            <a:hueOff val="-6212417"/>
            <a:satOff val="8310"/>
            <a:lumOff val="121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400" b="1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What problem do you solve?</a:t>
          </a:r>
          <a:r>
            <a:rPr lang="en-US" sz="1400" b="0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 Identify the value you offer your customers. Avoid listing only their features and instead translate them into benefits.</a:t>
          </a:r>
          <a:endParaRPr lang="es-CO" sz="1400" b="0" i="0" kern="1200">
            <a:effectLst/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86506" y="2119448"/>
        <a:ext cx="7819838" cy="605589"/>
      </dsp:txXfrm>
    </dsp:sp>
    <dsp:sp modelId="{9864AB5B-A3EB-43BB-AEA6-A8966C0821F4}">
      <dsp:nvSpPr>
        <dsp:cNvPr id="0" name=""/>
        <dsp:cNvSpPr/>
      </dsp:nvSpPr>
      <dsp:spPr>
        <a:xfrm>
          <a:off x="808012" y="2043749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6212417"/>
              <a:satOff val="8310"/>
              <a:lumOff val="121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294F8B-FFFB-4296-99AF-50E66F275E73}">
      <dsp:nvSpPr>
        <dsp:cNvPr id="0" name=""/>
        <dsp:cNvSpPr/>
      </dsp:nvSpPr>
      <dsp:spPr>
        <a:xfrm>
          <a:off x="1186506" y="3027142"/>
          <a:ext cx="7819838" cy="605589"/>
        </a:xfrm>
        <a:prstGeom prst="rect">
          <a:avLst/>
        </a:prstGeom>
        <a:solidFill>
          <a:schemeClr val="accent4">
            <a:hueOff val="-9318625"/>
            <a:satOff val="12465"/>
            <a:lumOff val="182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400" b="1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How do you differ?</a:t>
          </a:r>
          <a:r>
            <a:rPr lang="en-US" sz="1400" b="0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 Write down what sets you apart from any other company. Maybe you've had relevant experiences and outperformed them yourself, or your company has a unique strategy</a:t>
          </a:r>
          <a:endParaRPr lang="es-CO" sz="1400" b="0" i="0" kern="1200">
            <a:effectLst/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186506" y="3027142"/>
        <a:ext cx="7819838" cy="605589"/>
      </dsp:txXfrm>
    </dsp:sp>
    <dsp:sp modelId="{1C9A8794-242D-4744-B0C6-8B1AFAEDD63A}">
      <dsp:nvSpPr>
        <dsp:cNvPr id="0" name=""/>
        <dsp:cNvSpPr/>
      </dsp:nvSpPr>
      <dsp:spPr>
        <a:xfrm>
          <a:off x="808012" y="2951444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9318625"/>
              <a:satOff val="12465"/>
              <a:lumOff val="1823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FD53F2-C7DE-444A-ACE3-41510BD07A62}">
      <dsp:nvSpPr>
        <dsp:cNvPr id="0" name=""/>
        <dsp:cNvSpPr/>
      </dsp:nvSpPr>
      <dsp:spPr>
        <a:xfrm>
          <a:off x="958719" y="3935412"/>
          <a:ext cx="8047624" cy="605589"/>
        </a:xfrm>
        <a:prstGeom prst="rect">
          <a:avLst/>
        </a:prstGeom>
        <a:solidFill>
          <a:schemeClr val="accent4">
            <a:hueOff val="-12424834"/>
            <a:satOff val="16620"/>
            <a:lumOff val="2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400" b="1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Ask a question. </a:t>
          </a:r>
          <a:r>
            <a:rPr lang="en-US" sz="1400" b="0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Elevator pitches are usually held at networking events, which means you need to be social and strike up a conversation. A good way to engage your listener is to ask a question that relates to them and your business.</a:t>
          </a:r>
          <a:endParaRPr lang="es-CO" sz="1400" b="0" i="0" kern="1200">
            <a:effectLst/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58719" y="3935412"/>
        <a:ext cx="8047624" cy="605589"/>
      </dsp:txXfrm>
    </dsp:sp>
    <dsp:sp modelId="{EE188F2E-826C-4D10-A917-70BF2A5EB9C0}">
      <dsp:nvSpPr>
        <dsp:cNvPr id="0" name=""/>
        <dsp:cNvSpPr/>
      </dsp:nvSpPr>
      <dsp:spPr>
        <a:xfrm>
          <a:off x="580226" y="3859713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12424834"/>
              <a:satOff val="16620"/>
              <a:lumOff val="2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859FC2-ADA8-47C5-BEB0-79599B1DB231}">
      <dsp:nvSpPr>
        <dsp:cNvPr id="0" name=""/>
        <dsp:cNvSpPr/>
      </dsp:nvSpPr>
      <dsp:spPr>
        <a:xfrm>
          <a:off x="460581" y="4843681"/>
          <a:ext cx="8545763" cy="605589"/>
        </a:xfrm>
        <a:prstGeom prst="rect">
          <a:avLst/>
        </a:prstGeom>
        <a:solidFill>
          <a:schemeClr val="accent4">
            <a:hueOff val="-15531042"/>
            <a:satOff val="20775"/>
            <a:lumOff val="3039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400" b="1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Make a call to action. </a:t>
          </a:r>
          <a:r>
            <a:rPr lang="en-US" sz="1400" b="0" i="0" kern="1200">
              <a:effectLst/>
              <a:latin typeface="Arial" panose="020B0604020202020204" pitchFamily="34" charset="0"/>
              <a:cs typeface="Arial" panose="020B0604020202020204" pitchFamily="34" charset="0"/>
            </a:rPr>
            <a:t>To conclude your speech, offer your interlocutors a call to action. Briefly tell your audience what they can do to follow and learn more about your business.</a:t>
          </a:r>
          <a:endParaRPr lang="es-CO" sz="1400" b="0" i="0" kern="1200">
            <a:effectLst/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60581" y="4843681"/>
        <a:ext cx="8545763" cy="605589"/>
      </dsp:txXfrm>
    </dsp:sp>
    <dsp:sp modelId="{1958F9FF-8501-4AAE-946E-1DD9379EE438}">
      <dsp:nvSpPr>
        <dsp:cNvPr id="0" name=""/>
        <dsp:cNvSpPr/>
      </dsp:nvSpPr>
      <dsp:spPr>
        <a:xfrm>
          <a:off x="82087" y="4767982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15531042"/>
              <a:satOff val="20775"/>
              <a:lumOff val="3039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23E4BD6-E97A-46A4-AA30-568852B539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774AE6-0DA8-408F-8134-DDABC2EE87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287E9E-D2F8-4C1C-BC9F-E2CABAE66FE1}" type="datetimeFigureOut">
              <a:rPr lang="es-ES_tradnl" smtClean="0"/>
              <a:t>29/06/2022</a:t>
            </a:fld>
            <a:endParaRPr lang="es-ES_trad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DC6ADC-9CF6-47F3-86B4-4F7930AEF6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5CB9E5-1AC4-4BEF-9A42-4B32FD446B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63E78-60CA-441E-BA25-D241C8EDB6A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57631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72FAD-8778-405C-8921-79F3C25589D4}" type="datetimeFigureOut">
              <a:rPr lang="es-MX" smtClean="0"/>
              <a:t>29/06/2022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325E69-1CAA-46A9-A4D5-F2855D38AA5E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5930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325E69-1CAA-46A9-A4D5-F2855D38AA5E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4434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24434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704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6E1B5B37-6115-49BC-89C1-6D96CB79A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410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59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45681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3488863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47471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29209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343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5970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2580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0002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B4EA689D-80F7-4CD1-B2F1-CAEA0F1721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2544" y="0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C76B4DBF-9FB2-49CD-9916-3E041CA5728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71"/>
          <a:stretch/>
        </p:blipFill>
        <p:spPr bwMode="auto">
          <a:xfrm>
            <a:off x="-1" y="0"/>
            <a:ext cx="3429803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373B186-8D07-4B83-86BE-C88123E3037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619"/>
          <a:stretch/>
        </p:blipFill>
        <p:spPr bwMode="auto">
          <a:xfrm>
            <a:off x="7979344" y="0"/>
            <a:ext cx="4212656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8D6260DF-65BA-4B8E-93B3-CC06118EA2D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89"/>
          <a:stretch/>
        </p:blipFill>
        <p:spPr bwMode="auto">
          <a:xfrm>
            <a:off x="-1" y="47117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5B9A083B-30D6-405F-8D76-C6762C4D1B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" t="41448" r="-535" b="14541"/>
          <a:stretch/>
        </p:blipFill>
        <p:spPr bwMode="auto">
          <a:xfrm>
            <a:off x="4876799" y="48768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0D8FEBFE-B555-4112-981D-BB471C6AA65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059" b="55989"/>
          <a:stretch/>
        </p:blipFill>
        <p:spPr bwMode="auto">
          <a:xfrm>
            <a:off x="9902791" y="4711700"/>
            <a:ext cx="2289209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48558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5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27365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64DBBD2-31FA-49D4-A73C-F5618417CD78}"/>
              </a:ext>
            </a:extLst>
          </p:cNvPr>
          <p:cNvGrpSpPr/>
          <p:nvPr userDrawn="1"/>
        </p:nvGrpSpPr>
        <p:grpSpPr>
          <a:xfrm>
            <a:off x="317500" y="-143933"/>
            <a:ext cx="11874500" cy="7001933"/>
            <a:chOff x="317500" y="-143933"/>
            <a:chExt cx="11874500" cy="700193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65D2D27-6251-427D-8CD6-3877A0D07EA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0" y="-143933"/>
              <a:ext cx="4876800" cy="4876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A3BC59E-D672-4A55-BAD3-02C118600F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894"/>
            <a:stretch/>
          </p:blipFill>
          <p:spPr bwMode="auto">
            <a:xfrm>
              <a:off x="5413692" y="0"/>
              <a:ext cx="4876800" cy="43455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A298334-0A8D-4F7D-BB05-50FDF31C692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7400"/>
            <a:stretch/>
          </p:blipFill>
          <p:spPr bwMode="auto">
            <a:xfrm>
              <a:off x="1660525" y="4732867"/>
              <a:ext cx="4876800" cy="2077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C22F954-1D87-436F-A5A9-D0541938DB3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9185" b="-1"/>
            <a:stretch/>
          </p:blipFill>
          <p:spPr bwMode="auto">
            <a:xfrm rot="5400000">
              <a:off x="9002183" y="2581804"/>
              <a:ext cx="4876800" cy="1502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F425A56-2CCE-4909-8AB3-844871F624B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820" t="10432" r="-2089" b="41651"/>
            <a:stretch/>
          </p:blipFill>
          <p:spPr bwMode="auto">
            <a:xfrm>
              <a:off x="6756717" y="4521199"/>
              <a:ext cx="4207192" cy="2336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799387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791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03166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  <p:pic>
        <p:nvPicPr>
          <p:cNvPr id="7" name="Imagen 3">
            <a:extLst>
              <a:ext uri="{FF2B5EF4-FFF2-40B4-BE49-F238E27FC236}">
                <a16:creationId xmlns:a16="http://schemas.microsoft.com/office/drawing/2014/main" id="{5DDB46BB-504E-458E-A537-90F6968916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096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199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51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9211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5828582C-BE92-49CD-858B-13DF8815C2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325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577130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06CCDC3-DD90-4D69-A5D8-FCBF52D817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222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3">
            <a:extLst>
              <a:ext uri="{FF2B5EF4-FFF2-40B4-BE49-F238E27FC236}">
                <a16:creationId xmlns:a16="http://schemas.microsoft.com/office/drawing/2014/main" id="{A02CB5F9-9194-4096-8636-3F5919D04D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7108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Ver las imágenes de origen">
            <a:extLst>
              <a:ext uri="{FF2B5EF4-FFF2-40B4-BE49-F238E27FC236}">
                <a16:creationId xmlns:a16="http://schemas.microsoft.com/office/drawing/2014/main" id="{4E703E8E-4E32-45AE-BC11-E25ACED647D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78" r="21729" b="850"/>
          <a:stretch/>
        </p:blipFill>
        <p:spPr bwMode="auto">
          <a:xfrm flipH="1">
            <a:off x="1269998" y="0"/>
            <a:ext cx="1092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n 3">
            <a:extLst>
              <a:ext uri="{FF2B5EF4-FFF2-40B4-BE49-F238E27FC236}">
                <a16:creationId xmlns:a16="http://schemas.microsoft.com/office/drawing/2014/main" id="{A02CB5F9-9194-4096-8636-3F5919D04D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46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5845879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190AE70-C7DE-4E36-8798-0896F466C5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1" t="2075" r="4458" b="1076"/>
          <a:stretch/>
        </p:blipFill>
        <p:spPr>
          <a:xfrm>
            <a:off x="-6695" y="1"/>
            <a:ext cx="12205389" cy="685799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261A137-DD6B-4294-830C-88B81D39DD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47480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719613-E832-4620-BA87-4359242092D5}"/>
              </a:ext>
            </a:extLst>
          </p:cNvPr>
          <p:cNvSpPr txBox="1"/>
          <p:nvPr userDrawn="1"/>
        </p:nvSpPr>
        <p:spPr>
          <a:xfrm>
            <a:off x="609600" y="6496185"/>
            <a:ext cx="527923" cy="12311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algn="ctr" defTabSz="914400" rtl="0" eaLnBrk="1" latinLnBrk="0" hangingPunct="1"/>
            <a:r>
              <a:rPr lang="en-GB" sz="800" kern="1200">
                <a:solidFill>
                  <a:schemeClr val="tx1"/>
                </a:solidFill>
                <a:latin typeface="EYInterstate Light" panose="02000506000000020004" pitchFamily="2" charset="0"/>
                <a:ea typeface="+mn-ea"/>
                <a:cs typeface="+mn-cs"/>
              </a:rPr>
              <a:t>Page </a:t>
            </a:r>
            <a:fld id="{9AE4D82F-B047-469B-AC52-A46321747EAF}" type="slidenum">
              <a:rPr lang="en-GB" sz="800" kern="1200" smtClean="0">
                <a:solidFill>
                  <a:schemeClr val="tx1"/>
                </a:solidFill>
                <a:latin typeface="EYInterstate Light" panose="02000506000000020004" pitchFamily="2" charset="0"/>
                <a:ea typeface="+mn-ea"/>
                <a:cs typeface="+mn-cs"/>
              </a:rPr>
              <a:pPr marL="0" algn="ctr" defTabSz="914400" rtl="0" eaLnBrk="1" latinLnBrk="0" hangingPunct="1"/>
              <a:t>‹#›</a:t>
            </a:fld>
            <a:endParaRPr lang="en-GB" sz="800" kern="1200">
              <a:solidFill>
                <a:schemeClr val="tx1"/>
              </a:solidFill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F51043E7-0453-4947-A971-36D68605E35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045952" y="6327649"/>
            <a:ext cx="536448" cy="412867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0D1321DF-59A2-46B5-A741-5F9533F768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tx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5DEF224-4BDC-4900-91F3-F957A6BE30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tx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FA626A2-897F-4C3A-9317-132BA54CA7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tx1"/>
                </a:solidFill>
                <a:latin typeface="EYInterstate Light" panose="02000506000000020004" pitchFamily="2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9900689-D0A1-433C-ABFE-041164272DD5}"/>
              </a:ext>
            </a:extLst>
          </p:cNvPr>
          <p:cNvSpPr txBox="1"/>
          <p:nvPr userDrawn="1"/>
        </p:nvSpPr>
        <p:spPr>
          <a:xfrm>
            <a:off x="5654641" y="6521725"/>
            <a:ext cx="882721" cy="12311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algn="ctr" defTabSz="914400" rtl="0" eaLnBrk="1" latinLnBrk="0" hangingPunct="1"/>
            <a:r>
              <a:rPr lang="en-IN" sz="800" kern="1200">
                <a:solidFill>
                  <a:schemeClr val="tx1"/>
                </a:solidFill>
                <a:latin typeface="EYInterstate Light" panose="02000506000000020004" pitchFamily="2" charset="0"/>
                <a:ea typeface="+mn-ea"/>
                <a:cs typeface="+mn-cs"/>
              </a:rPr>
              <a:t>EY POWER Up</a:t>
            </a:r>
          </a:p>
        </p:txBody>
      </p:sp>
    </p:spTree>
    <p:extLst>
      <p:ext uri="{BB962C8B-B14F-4D97-AF65-F5344CB8AC3E}">
        <p14:creationId xmlns:p14="http://schemas.microsoft.com/office/powerpoint/2010/main" val="666027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793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5935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D122A6A-E87D-4B92-904F-81FA3E9576D6}"/>
              </a:ext>
            </a:extLst>
          </p:cNvPr>
          <p:cNvSpPr/>
          <p:nvPr userDrawn="1"/>
        </p:nvSpPr>
        <p:spPr>
          <a:xfrm>
            <a:off x="1269186" y="1135976"/>
            <a:ext cx="9541689" cy="5173134"/>
          </a:xfrm>
          <a:custGeom>
            <a:avLst/>
            <a:gdLst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8607 w 9208607"/>
              <a:gd name="connsiteY2" fmla="*/ 5173134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8607 w 9208607"/>
              <a:gd name="connsiteY2" fmla="*/ 3589867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0140 w 9208607"/>
              <a:gd name="connsiteY2" fmla="*/ 3716867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9421"/>
              <a:gd name="connsiteY0" fmla="*/ 0 h 5173134"/>
              <a:gd name="connsiteX1" fmla="*/ 9208607 w 9209421"/>
              <a:gd name="connsiteY1" fmla="*/ 0 h 5173134"/>
              <a:gd name="connsiteX2" fmla="*/ 9208607 w 9209421"/>
              <a:gd name="connsiteY2" fmla="*/ 3759201 h 5173134"/>
              <a:gd name="connsiteX3" fmla="*/ 0 w 9209421"/>
              <a:gd name="connsiteY3" fmla="*/ 5173134 h 5173134"/>
              <a:gd name="connsiteX4" fmla="*/ 0 w 9209421"/>
              <a:gd name="connsiteY4" fmla="*/ 0 h 517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09421" h="5173134">
                <a:moveTo>
                  <a:pt x="0" y="0"/>
                </a:moveTo>
                <a:lnTo>
                  <a:pt x="9208607" y="0"/>
                </a:lnTo>
                <a:cubicBezTo>
                  <a:pt x="9205785" y="1238956"/>
                  <a:pt x="9211429" y="2520245"/>
                  <a:pt x="9208607" y="3759201"/>
                </a:cubicBezTo>
                <a:lnTo>
                  <a:pt x="0" y="517313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2233CC0D-0D94-4C61-9698-A9A5C2F767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51096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737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9211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A45A21FB-7988-4B88-B265-0D14E4D602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075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2205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59D4E56A-5705-480C-A56C-EA2C4F2FC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9287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577130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B7748EE4-40E2-4C4D-9701-6CFE9E0CD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0632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10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5.v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498" imgH="499" progId="TCLayout.ActiveDocument.1">
                  <p:embed/>
                </p:oleObj>
              </mc:Choice>
              <mc:Fallback>
                <p:oleObj name="think-cell Slide" r:id="rId15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24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70" r:id="rId2"/>
    <p:sldLayoutId id="2147483699" r:id="rId3"/>
    <p:sldLayoutId id="2147483711" r:id="rId4"/>
    <p:sldLayoutId id="2147483985" r:id="rId5"/>
    <p:sldLayoutId id="2147483983" r:id="rId6"/>
    <p:sldLayoutId id="2147483986" r:id="rId7"/>
    <p:sldLayoutId id="2147483990" r:id="rId8"/>
    <p:sldLayoutId id="2147483989" r:id="rId9"/>
    <p:sldLayoutId id="2147483987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15" imgW="498" imgH="499" progId="TCLayout.ActiveDocument.1">
                  <p:embed/>
                </p:oleObj>
              </mc:Choice>
              <mc:Fallback>
                <p:oleObj name="think-cell Slide" r:id="rId15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6221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10" r:id="rId6"/>
    <p:sldLayoutId id="2147484011" r:id="rId7"/>
    <p:sldLayoutId id="2147484012" r:id="rId8"/>
    <p:sldLayoutId id="2147484013" r:id="rId9"/>
    <p:sldLayoutId id="2147484014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15" imgW="498" imgH="499" progId="TCLayout.ActiveDocument.1">
                  <p:embed/>
                </p:oleObj>
              </mc:Choice>
              <mc:Fallback>
                <p:oleObj name="think-cell Slide" r:id="rId15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311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2" r:id="rId6"/>
    <p:sldLayoutId id="2147484023" r:id="rId7"/>
    <p:sldLayoutId id="2147484024" r:id="rId8"/>
    <p:sldLayoutId id="2147484026" r:id="rId9"/>
    <p:sldLayoutId id="2147484025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video" Target="https://www.youtube.com/embed/7a_lu7ilpnI?feature=oembed" TargetMode="External"/><Relationship Id="rId13" Type="http://schemas.openxmlformats.org/officeDocument/2006/relationships/image" Target="../media/image10.jpeg"/><Relationship Id="rId18" Type="http://schemas.openxmlformats.org/officeDocument/2006/relationships/image" Target="../media/image15.jpeg"/><Relationship Id="rId3" Type="http://schemas.openxmlformats.org/officeDocument/2006/relationships/video" Target="https://www.youtube.com/embed/cM2BTr5-w-I?feature=oembed" TargetMode="External"/><Relationship Id="rId7" Type="http://schemas.openxmlformats.org/officeDocument/2006/relationships/video" Target="https://www.youtube.com/embed/5StqzLftUf4?feature=oembed" TargetMode="External"/><Relationship Id="rId12" Type="http://schemas.openxmlformats.org/officeDocument/2006/relationships/image" Target="../media/image9.jpeg"/><Relationship Id="rId17" Type="http://schemas.openxmlformats.org/officeDocument/2006/relationships/image" Target="../media/image14.jpeg"/><Relationship Id="rId2" Type="http://schemas.openxmlformats.org/officeDocument/2006/relationships/video" Target="https://www.youtube.com/embed/Q3wa-tWIlUc?feature=oembed" TargetMode="External"/><Relationship Id="rId16" Type="http://schemas.openxmlformats.org/officeDocument/2006/relationships/image" Target="../media/image13.jpeg"/><Relationship Id="rId1" Type="http://schemas.openxmlformats.org/officeDocument/2006/relationships/video" Target="https://www.youtube.com/embed/i6O98o2FRHw?feature=oembed" TargetMode="External"/><Relationship Id="rId6" Type="http://schemas.openxmlformats.org/officeDocument/2006/relationships/video" Target="https://www.youtube.com/embed/uv357YzY7-k?feature=oembed" TargetMode="External"/><Relationship Id="rId11" Type="http://schemas.openxmlformats.org/officeDocument/2006/relationships/image" Target="../media/image8.jpeg"/><Relationship Id="rId5" Type="http://schemas.openxmlformats.org/officeDocument/2006/relationships/video" Target="https://www.youtube.com/embed/ELHNkj8mAEE?feature=oembed" TargetMode="Externa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16.jpeg"/><Relationship Id="rId4" Type="http://schemas.openxmlformats.org/officeDocument/2006/relationships/video" Target="https://www.youtube.com/embed/z96oEIEY-RY?feature=oembed" TargetMode="External"/><Relationship Id="rId9" Type="http://schemas.openxmlformats.org/officeDocument/2006/relationships/video" Target="https://www.youtube.com/embed/VCVRgpSPSVQ?feature=oembed" TargetMode="External"/><Relationship Id="rId1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543827" y="574797"/>
            <a:ext cx="10838046" cy="1824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4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's time to work together!</a:t>
            </a:r>
            <a:r>
              <a:rPr kumimoji="0" lang="es-CO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endParaRPr kumimoji="0" lang="en-GB" sz="4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lnSpc>
                <a:spcPct val="150000"/>
              </a:lnSpc>
              <a:defRPr/>
            </a:pPr>
            <a:r>
              <a:rPr lang="en-GB" sz="4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CHALLENGE</a:t>
            </a:r>
            <a:r>
              <a:rPr kumimoji="0" lang="es-CO" sz="4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CO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r>
              <a:rPr kumimoji="0" lang="es-CO" sz="4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vator</a:t>
            </a:r>
            <a:r>
              <a:rPr kumimoji="0" lang="es-CO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itch”</a:t>
            </a:r>
            <a:endParaRPr kumimoji="0" lang="en-GB" sz="4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692B0D-82AC-41A6-A5BD-1A4B9AC9B985}"/>
              </a:ext>
            </a:extLst>
          </p:cNvPr>
          <p:cNvSpPr txBox="1"/>
          <p:nvPr/>
        </p:nvSpPr>
        <p:spPr>
          <a:xfrm>
            <a:off x="3590132" y="3069064"/>
            <a:ext cx="722702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s-CO" sz="28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y</a:t>
            </a:r>
            <a:r>
              <a:rPr lang="es-CO" sz="28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e: </a:t>
            </a:r>
            <a:r>
              <a:rPr lang="es-CO" sz="2800" b="1" err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onday</a:t>
            </a:r>
            <a:r>
              <a:rPr lang="es-CO" sz="2800" b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CO" sz="2800" b="1" err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July</a:t>
            </a:r>
            <a:r>
              <a:rPr lang="es-CO" sz="2800" b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18</a:t>
            </a:r>
            <a:endParaRPr kumimoji="0" lang="es-CO" sz="28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highlight>
                <a:srgbClr val="EA3A55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8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highlight>
                <a:srgbClr val="EA3A55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8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is document you will find the instructions for delivering the elevator pitch, as well as some examples of a guide</a:t>
            </a:r>
            <a:r>
              <a:rPr lang="es-CO" sz="28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kumimoji="0" lang="es-CO" sz="28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1D0FC29-B937-45E1-8F7D-DDBCFA643D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602" y="3564959"/>
            <a:ext cx="2116755" cy="2116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3180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553451" y="536669"/>
            <a:ext cx="1083804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GB" sz="4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CHALLENGE</a:t>
            </a:r>
            <a:r>
              <a:rPr lang="es-CO" sz="4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kumimoji="0" lang="es-CO" sz="4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vator</a:t>
            </a:r>
            <a:r>
              <a:rPr kumimoji="0" lang="es-CO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itch</a:t>
            </a:r>
            <a:r>
              <a:rPr lang="es-CO"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en-GB" sz="40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90C4ECCF-9B28-475A-8668-643F413BD5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235459"/>
              </p:ext>
            </p:extLst>
          </p:nvPr>
        </p:nvGraphicFramePr>
        <p:xfrm>
          <a:off x="1198033" y="3225919"/>
          <a:ext cx="9795934" cy="3019212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4897967">
                  <a:extLst>
                    <a:ext uri="{9D8B030D-6E8A-4147-A177-3AD203B41FA5}">
                      <a16:colId xmlns:a16="http://schemas.microsoft.com/office/drawing/2014/main" val="2726736430"/>
                    </a:ext>
                  </a:extLst>
                </a:gridCol>
                <a:gridCol w="4897967">
                  <a:extLst>
                    <a:ext uri="{9D8B030D-6E8A-4147-A177-3AD203B41FA5}">
                      <a16:colId xmlns:a16="http://schemas.microsoft.com/office/drawing/2014/main" val="728345699"/>
                    </a:ext>
                  </a:extLst>
                </a:gridCol>
              </a:tblGrid>
              <a:tr h="431316">
                <a:tc>
                  <a:txBody>
                    <a:bodyPr/>
                    <a:lstStyle/>
                    <a:p>
                      <a:r>
                        <a:rPr lang="es-CO"/>
                        <a:t>Full </a:t>
                      </a:r>
                      <a:r>
                        <a:rPr lang="es-CO" err="1"/>
                        <a:t>name</a:t>
                      </a:r>
                      <a:endParaRPr lang="es-CO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CO"/>
                        <a:t>Emai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227350454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040114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299672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5541758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995841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588468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14125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46E46B2-8DA6-4180-BE6E-D6D94C9C18D5}"/>
              </a:ext>
            </a:extLst>
          </p:cNvPr>
          <p:cNvSpPr txBox="1"/>
          <p:nvPr/>
        </p:nvSpPr>
        <p:spPr>
          <a:xfrm>
            <a:off x="639233" y="1611936"/>
            <a:ext cx="10752264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following table, type the </a:t>
            </a:r>
            <a:r>
              <a:rPr lang="en-US" b="1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ame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b="1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the members of the group.
This information will be used to upload the challenge grade to the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America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ademy, so it is very important that they enter the </a:t>
            </a:r>
            <a:r>
              <a:rPr lang="en-US" b="1" u="sng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s it is in the Academy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568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D2BC709B-5E79-4CCF-A0A4-C614AA7503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7541325"/>
              </p:ext>
            </p:extLst>
          </p:nvPr>
        </p:nvGraphicFramePr>
        <p:xfrm>
          <a:off x="1359673" y="834886"/>
          <a:ext cx="9088194" cy="57521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guiding questions of the elevator pitch</a:t>
            </a:r>
            <a:endParaRPr lang="es-CO" sz="2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6114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</a:t>
            </a:r>
            <a:r>
              <a:rPr lang="es-C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</a:t>
            </a:r>
            <a:endParaRPr lang="es-CO" sz="2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Online Media 1" title="Elevator Pitch Winner">
            <a:hlinkClick r:id="" action="ppaction://media"/>
            <a:extLst>
              <a:ext uri="{FF2B5EF4-FFF2-40B4-BE49-F238E27FC236}">
                <a16:creationId xmlns:a16="http://schemas.microsoft.com/office/drawing/2014/main" id="{743D9FB4-5C0C-4C1C-84A0-C639CA6645D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11"/>
          <a:stretch>
            <a:fillRect/>
          </a:stretch>
        </p:blipFill>
        <p:spPr>
          <a:xfrm>
            <a:off x="1896731" y="1117098"/>
            <a:ext cx="2540000" cy="1435100"/>
          </a:xfrm>
          <a:prstGeom prst="rect">
            <a:avLst/>
          </a:prstGeom>
        </p:spPr>
      </p:pic>
      <p:pic>
        <p:nvPicPr>
          <p:cNvPr id="7" name="Online Media 6" title="Pitch criativo surpreende os tubarões | Shark Tank Brasil">
            <a:hlinkClick r:id="" action="ppaction://media"/>
            <a:extLst>
              <a:ext uri="{FF2B5EF4-FFF2-40B4-BE49-F238E27FC236}">
                <a16:creationId xmlns:a16="http://schemas.microsoft.com/office/drawing/2014/main" id="{AE2C3492-883E-43A1-80BC-CF75C2934946}"/>
              </a:ext>
            </a:extLst>
          </p:cNvPr>
          <p:cNvPicPr>
            <a:picLocks noRot="1" noChangeAspect="1"/>
          </p:cNvPicPr>
          <p:nvPr>
            <a:videoFile r:link="rId2"/>
          </p:nvPr>
        </p:nvPicPr>
        <p:blipFill>
          <a:blip r:embed="rId12"/>
          <a:stretch>
            <a:fillRect/>
          </a:stretch>
        </p:blipFill>
        <p:spPr>
          <a:xfrm>
            <a:off x="4707466" y="4779433"/>
            <a:ext cx="2540000" cy="1435100"/>
          </a:xfrm>
          <a:prstGeom prst="rect">
            <a:avLst/>
          </a:prstGeom>
        </p:spPr>
      </p:pic>
      <p:pic>
        <p:nvPicPr>
          <p:cNvPr id="8" name="Online Media 7" title="Elevator Pitch: exemplos práticos">
            <a:hlinkClick r:id="" action="ppaction://media"/>
            <a:extLst>
              <a:ext uri="{FF2B5EF4-FFF2-40B4-BE49-F238E27FC236}">
                <a16:creationId xmlns:a16="http://schemas.microsoft.com/office/drawing/2014/main" id="{0B15FACB-28EA-4996-BA2C-F88AE114809C}"/>
              </a:ext>
            </a:extLst>
          </p:cNvPr>
          <p:cNvPicPr>
            <a:picLocks noRot="1" noChangeAspect="1"/>
          </p:cNvPicPr>
          <p:nvPr>
            <a:videoFile r:link="rId3"/>
          </p:nvPr>
        </p:nvPicPr>
        <p:blipFill>
          <a:blip r:embed="rId13"/>
          <a:stretch>
            <a:fillRect/>
          </a:stretch>
        </p:blipFill>
        <p:spPr>
          <a:xfrm>
            <a:off x="1896731" y="4779433"/>
            <a:ext cx="2540000" cy="1435100"/>
          </a:xfrm>
          <a:prstGeom prst="rect">
            <a:avLst/>
          </a:prstGeom>
        </p:spPr>
      </p:pic>
      <p:pic>
        <p:nvPicPr>
          <p:cNvPr id="9" name="Online Media 8" title="DEMO Brasil Pitch STARTUP Chegue.Lá - São Carlos SP">
            <a:hlinkClick r:id="" action="ppaction://media"/>
            <a:extLst>
              <a:ext uri="{FF2B5EF4-FFF2-40B4-BE49-F238E27FC236}">
                <a16:creationId xmlns:a16="http://schemas.microsoft.com/office/drawing/2014/main" id="{05BC2E2A-2BC3-46DA-8B39-6E5ABAAC13EE}"/>
              </a:ext>
            </a:extLst>
          </p:cNvPr>
          <p:cNvPicPr>
            <a:picLocks noRot="1" noChangeAspect="1"/>
          </p:cNvPicPr>
          <p:nvPr>
            <a:videoFile r:link="rId4"/>
          </p:nvPr>
        </p:nvPicPr>
        <p:blipFill>
          <a:blip r:embed="rId14"/>
          <a:stretch>
            <a:fillRect/>
          </a:stretch>
        </p:blipFill>
        <p:spPr>
          <a:xfrm>
            <a:off x="1896731" y="2919690"/>
            <a:ext cx="2540000" cy="1435100"/>
          </a:xfrm>
          <a:prstGeom prst="rect">
            <a:avLst/>
          </a:prstGeom>
        </p:spPr>
      </p:pic>
      <p:pic>
        <p:nvPicPr>
          <p:cNvPr id="3" name="Online Media 2" title="&quot;¡El mejor pitch que he visto!&quot; 😱 | Shark Tank Colombia">
            <a:hlinkClick r:id="" action="ppaction://media"/>
            <a:extLst>
              <a:ext uri="{FF2B5EF4-FFF2-40B4-BE49-F238E27FC236}">
                <a16:creationId xmlns:a16="http://schemas.microsoft.com/office/drawing/2014/main" id="{AEBF1517-1E52-478E-BCFA-AF0D342D9D3D}"/>
              </a:ext>
            </a:extLst>
          </p:cNvPr>
          <p:cNvPicPr>
            <a:picLocks noRot="1" noChangeAspect="1"/>
          </p:cNvPicPr>
          <p:nvPr>
            <a:videoFile r:link="rId5"/>
          </p:nvPr>
        </p:nvPicPr>
        <p:blipFill>
          <a:blip r:embed="rId15"/>
          <a:stretch>
            <a:fillRect/>
          </a:stretch>
        </p:blipFill>
        <p:spPr>
          <a:xfrm>
            <a:off x="4707466" y="1117098"/>
            <a:ext cx="2540000" cy="1435100"/>
          </a:xfrm>
          <a:prstGeom prst="rect">
            <a:avLst/>
          </a:prstGeom>
        </p:spPr>
      </p:pic>
      <p:pic>
        <p:nvPicPr>
          <p:cNvPr id="5" name="Online Media 4" title="Ejemplo de Elevator Pitch para presentarte tú o un proyecto">
            <a:hlinkClick r:id="" action="ppaction://media"/>
            <a:extLst>
              <a:ext uri="{FF2B5EF4-FFF2-40B4-BE49-F238E27FC236}">
                <a16:creationId xmlns:a16="http://schemas.microsoft.com/office/drawing/2014/main" id="{1CF21A32-10D3-47AD-8D0A-4FC8BC43668A}"/>
              </a:ext>
            </a:extLst>
          </p:cNvPr>
          <p:cNvPicPr>
            <a:picLocks noRot="1" noChangeAspect="1"/>
          </p:cNvPicPr>
          <p:nvPr>
            <a:videoFile r:link="rId6"/>
          </p:nvPr>
        </p:nvPicPr>
        <p:blipFill>
          <a:blip r:embed="rId16"/>
          <a:stretch>
            <a:fillRect/>
          </a:stretch>
        </p:blipFill>
        <p:spPr>
          <a:xfrm>
            <a:off x="7662333" y="4779433"/>
            <a:ext cx="2540000" cy="1435100"/>
          </a:xfrm>
          <a:prstGeom prst="rect">
            <a:avLst/>
          </a:prstGeom>
        </p:spPr>
      </p:pic>
      <p:pic>
        <p:nvPicPr>
          <p:cNvPr id="6" name="Online Media 5" title="&quot;Eres la emprendedora más preparada que se ha parado allí enfrente&quot; | Shark Tank México">
            <a:hlinkClick r:id="" action="ppaction://media"/>
            <a:extLst>
              <a:ext uri="{FF2B5EF4-FFF2-40B4-BE49-F238E27FC236}">
                <a16:creationId xmlns:a16="http://schemas.microsoft.com/office/drawing/2014/main" id="{F6E2060B-E7DA-4880-A52E-7E0641B64C6D}"/>
              </a:ext>
            </a:extLst>
          </p:cNvPr>
          <p:cNvPicPr>
            <a:picLocks noRot="1" noChangeAspect="1"/>
          </p:cNvPicPr>
          <p:nvPr>
            <a:videoFile r:link="rId7"/>
          </p:nvPr>
        </p:nvPicPr>
        <p:blipFill>
          <a:blip r:embed="rId17"/>
          <a:stretch>
            <a:fillRect/>
          </a:stretch>
        </p:blipFill>
        <p:spPr>
          <a:xfrm>
            <a:off x="7662333" y="2919690"/>
            <a:ext cx="2540000" cy="1435100"/>
          </a:xfrm>
          <a:prstGeom prst="rect">
            <a:avLst/>
          </a:prstGeom>
        </p:spPr>
      </p:pic>
      <p:pic>
        <p:nvPicPr>
          <p:cNvPr id="10" name="Online Media 9" title="Best STARTUP PITCH ever. Silicon Valley.">
            <a:hlinkClick r:id="" action="ppaction://media"/>
            <a:extLst>
              <a:ext uri="{FF2B5EF4-FFF2-40B4-BE49-F238E27FC236}">
                <a16:creationId xmlns:a16="http://schemas.microsoft.com/office/drawing/2014/main" id="{3FF69355-1675-4F5A-BA53-B502670F5250}"/>
              </a:ext>
            </a:extLst>
          </p:cNvPr>
          <p:cNvPicPr>
            <a:picLocks noRot="1" noChangeAspect="1"/>
          </p:cNvPicPr>
          <p:nvPr>
            <a:videoFile r:link="rId8"/>
          </p:nvPr>
        </p:nvPicPr>
        <p:blipFill>
          <a:blip r:embed="rId18"/>
          <a:stretch>
            <a:fillRect/>
          </a:stretch>
        </p:blipFill>
        <p:spPr>
          <a:xfrm>
            <a:off x="4707466" y="2919690"/>
            <a:ext cx="2540000" cy="1435100"/>
          </a:xfrm>
          <a:prstGeom prst="rect">
            <a:avLst/>
          </a:prstGeom>
        </p:spPr>
      </p:pic>
      <p:pic>
        <p:nvPicPr>
          <p:cNvPr id="11" name="Online Media 10" title="Winner &quot;Best Pitch&quot; Competition - Willy Green (Party on Demand)">
            <a:hlinkClick r:id="" action="ppaction://media"/>
            <a:extLst>
              <a:ext uri="{FF2B5EF4-FFF2-40B4-BE49-F238E27FC236}">
                <a16:creationId xmlns:a16="http://schemas.microsoft.com/office/drawing/2014/main" id="{D935E7FC-BC76-4ADC-84E7-B66D95EC6B77}"/>
              </a:ext>
            </a:extLst>
          </p:cNvPr>
          <p:cNvPicPr>
            <a:picLocks noRot="1" noChangeAspect="1"/>
          </p:cNvPicPr>
          <p:nvPr>
            <a:videoFile r:link="rId9"/>
          </p:nvPr>
        </p:nvPicPr>
        <p:blipFill>
          <a:blip r:embed="rId19"/>
          <a:stretch>
            <a:fillRect/>
          </a:stretch>
        </p:blipFill>
        <p:spPr>
          <a:xfrm>
            <a:off x="7662333" y="1116595"/>
            <a:ext cx="2540000" cy="143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905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4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8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3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40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1" fill="hold">
                      <p:stCondLst>
                        <p:cond delay="0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44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45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46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7" fill="hold">
                      <p:stCondLst>
                        <p:cond delay="0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0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51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5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3" fill="hold">
                      <p:stCondLst>
                        <p:cond delay="0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5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5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9" fill="hold">
                      <p:stCondLst>
                        <p:cond delay="0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video>
              <p:cMediaNode vol="80000">
                <p:cTn id="6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64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5" fill="hold">
                      <p:stCondLst>
                        <p:cond delay="0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8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69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70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71" fill="hold">
                      <p:stCondLst>
                        <p:cond delay="0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74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5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76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77" fill="hold">
                      <p:stCondLst>
                        <p:cond delay="0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80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81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3" fill="hold">
                      <p:stCondLst>
                        <p:cond delay="0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8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8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9" fill="hold">
                      <p:stCondLst>
                        <p:cond delay="0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9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74174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ctions
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49E39F-F76B-4529-AA0D-759FC5E76058}"/>
              </a:ext>
            </a:extLst>
          </p:cNvPr>
          <p:cNvSpPr txBox="1"/>
          <p:nvPr/>
        </p:nvSpPr>
        <p:spPr>
          <a:xfrm>
            <a:off x="871542" y="1390366"/>
            <a:ext cx="10448916" cy="3985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457200">
              <a:lnSpc>
                <a:spcPct val="150000"/>
              </a:lnSpc>
              <a:buFontTx/>
              <a:buAutoNum type="arabicPeriod"/>
              <a:defRPr/>
            </a:pPr>
            <a:r>
              <a:rPr lang="en-US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ir groups they must </a:t>
            </a:r>
            <a:r>
              <a:rPr lang="en-US" sz="2000" b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lan an elevator pitch for one of the member companies</a:t>
            </a:r>
            <a:r>
              <a:rPr lang="en-US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at is, they must write the speech.</a:t>
            </a:r>
            <a:endParaRPr lang="es-CO" sz="2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s-CO" sz="2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>
              <a:lnSpc>
                <a:spcPct val="150000"/>
              </a:lnSpc>
              <a:buFontTx/>
              <a:buAutoNum type="arabicPeriod"/>
              <a:defRPr/>
            </a:pPr>
            <a:r>
              <a:rPr lang="en-US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epresentative of the company must present the elevator pitch to the other participants and these must </a:t>
            </a:r>
            <a:r>
              <a:rPr lang="en-US" sz="2000" b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ntribute feedback to improve the speech</a:t>
            </a:r>
            <a:r>
              <a:rPr lang="es-CO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lvl="0" indent="-457200">
              <a:lnSpc>
                <a:spcPct val="150000"/>
              </a:lnSpc>
              <a:spcBef>
                <a:spcPts val="2000"/>
              </a:spcBef>
              <a:buFontTx/>
              <a:buAutoNum type="arabicPeriod"/>
              <a:defRPr/>
            </a:pPr>
            <a:r>
              <a:rPr lang="en-US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ly, the representative of the company must </a:t>
            </a:r>
            <a:r>
              <a:rPr lang="en-US" sz="2000" b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ecord a video of 5 minutes maximum</a:t>
            </a:r>
            <a:r>
              <a:rPr lang="en-US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which she presents her tight elevator pitch with the comments of her colleagues.</a:t>
            </a:r>
            <a:r>
              <a:rPr lang="es-CO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kumimoji="0" lang="es-CO" sz="20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185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</a:t>
            </a:r>
            <a:r>
              <a:rPr lang="es-C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tions</a:t>
            </a:r>
            <a:endParaRPr lang="es-CO" sz="2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517DF4-1816-4D94-8554-7D5EE68F9C77}"/>
              </a:ext>
            </a:extLst>
          </p:cNvPr>
          <p:cNvSpPr txBox="1"/>
          <p:nvPr/>
        </p:nvSpPr>
        <p:spPr>
          <a:xfrm>
            <a:off x="745265" y="1342617"/>
            <a:ext cx="10448916" cy="4651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en-US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video can NOT last longer than</a:t>
            </a:r>
            <a:r>
              <a:rPr lang="es-CO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minutes</a:t>
            </a:r>
          </a:p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es-CO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y </a:t>
            </a:r>
            <a:r>
              <a:rPr lang="es-CO" sz="20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s-CO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e a </a:t>
            </a:r>
            <a:r>
              <a:rPr lang="en-US" sz="2000" b="1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uid pitch that produces interest</a:t>
            </a:r>
            <a:r>
              <a:rPr kumimoji="0" lang="es-CO" sz="2000" b="1" i="0" u="none" strike="noStrike" kern="1200" cap="none" spc="0" normalizeH="0" baseline="0">
                <a:ln>
                  <a:noFill/>
                </a:ln>
                <a:solidFill>
                  <a:srgbClr val="A97F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listeners, it's not about memorizing a speech.</a:t>
            </a:r>
            <a:endParaRPr lang="es-CO" sz="2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en-US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the video will be taken into account for the qualification, they must not send any additional documents</a:t>
            </a:r>
            <a:r>
              <a:rPr lang="es-CO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es-CO" sz="20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's</a:t>
            </a:r>
            <a:r>
              <a:rPr lang="es-CO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t</a:t>
            </a:r>
            <a:r>
              <a:rPr lang="es-CO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sound and video quality</a:t>
            </a:r>
            <a:r>
              <a:rPr lang="es-CO" sz="2000" b="1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en-US" sz="20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examples presented as a source of inspiration, but do not focus on imitating them </a:t>
            </a:r>
            <a:r>
              <a:rPr lang="en-US" sz="2000" b="1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of the success of the elevator pitch is in its authenticity which depends purely on the value that your businesses have for you, the users and investors.</a:t>
            </a:r>
            <a:endParaRPr kumimoji="0" lang="es-CO" sz="2000" b="1" i="0" u="none" strike="noStrike" kern="1200" cap="none" spc="0" normalizeH="0" baseline="0">
              <a:ln>
                <a:noFill/>
              </a:ln>
              <a:solidFill>
                <a:srgbClr val="A97F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819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4F6F202B989444B8E513D90358DBD5" ma:contentTypeVersion="16" ma:contentTypeDescription="Criar um novo documento." ma:contentTypeScope="" ma:versionID="5716da5cc4a9b695852797157f59f5a4">
  <xsd:schema xmlns:xsd="http://www.w3.org/2001/XMLSchema" xmlns:xs="http://www.w3.org/2001/XMLSchema" xmlns:p="http://schemas.microsoft.com/office/2006/metadata/properties" xmlns:ns2="f7497011-41e9-4539-8eaa-a91e26322fc1" xmlns:ns3="36ab4214-ab26-4180-94f5-c882e3796056" xmlns:ns4="50c908b1-f277-4340-90a9-4611d0b0f078" targetNamespace="http://schemas.microsoft.com/office/2006/metadata/properties" ma:root="true" ma:fieldsID="2078f8d0cb709985c61f0866b3e3e39f" ns2:_="" ns3:_="" ns4:_="">
    <xsd:import namespace="f7497011-41e9-4539-8eaa-a91e26322fc1"/>
    <xsd:import namespace="36ab4214-ab26-4180-94f5-c882e3796056"/>
    <xsd:import namespace="50c908b1-f277-4340-90a9-4611d0b0f0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497011-41e9-4539-8eaa-a91e26322f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m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ab4214-ab26-4180-94f5-c882e379605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e94d8fc-1e66-4f71-a6c2-6ba77f95e9eb}" ma:internalName="TaxCatchAll" ma:showField="CatchAllData" ma:web="36ab4214-ab26-4180-94f5-c882e37960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6ab4214-ab26-4180-94f5-c882e3796056">
      <UserInfo>
        <DisplayName>Monica Betancourt</DisplayName>
        <AccountId>14</AccountId>
        <AccountType/>
      </UserInfo>
      <UserInfo>
        <DisplayName>Marcela Mesa1</DisplayName>
        <AccountId>88</AccountId>
        <AccountType/>
      </UserInfo>
      <UserInfo>
        <DisplayName>Daniel Muñoz Segura</DisplayName>
        <AccountId>64</AccountId>
        <AccountType/>
      </UserInfo>
      <UserInfo>
        <DisplayName>Katerine Schifino</DisplayName>
        <AccountId>16</AccountId>
        <AccountType/>
      </UserInfo>
    </SharedWithUsers>
    <TaxCatchAll xmlns="50c908b1-f277-4340-90a9-4611d0b0f078" xsi:nil="true"/>
    <lcf76f155ced4ddcb4097134ff3c332f xmlns="f7497011-41e9-4539-8eaa-a91e26322fc1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710F3E-A11E-4086-98A8-D1A7A1DC1479}">
  <ds:schemaRefs>
    <ds:schemaRef ds:uri="36ab4214-ab26-4180-94f5-c882e3796056"/>
    <ds:schemaRef ds:uri="50c908b1-f277-4340-90a9-4611d0b0f078"/>
    <ds:schemaRef ds:uri="f7497011-41e9-4539-8eaa-a91e26322f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2397B2F-AA3E-4435-ABBB-477580938829}">
  <ds:schemaRefs>
    <ds:schemaRef ds:uri="36ab4214-ab26-4180-94f5-c882e3796056"/>
    <ds:schemaRef ds:uri="50c908b1-f277-4340-90a9-4611d0b0f078"/>
    <ds:schemaRef ds:uri="f7497011-41e9-4539-8eaa-a91e26322fc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FEBD0AE-4C18-4A23-B4DC-6E6B1C1ACE7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6</Slides>
  <Notes>2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EY dark background</vt:lpstr>
      <vt:lpstr>2_EY dark background</vt:lpstr>
      <vt:lpstr>1_EY dark backgroun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1</cp:revision>
  <dcterms:created xsi:type="dcterms:W3CDTF">2020-11-16T13:23:13Z</dcterms:created>
  <dcterms:modified xsi:type="dcterms:W3CDTF">2022-06-29T20:3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84780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4</vt:lpwstr>
  </property>
  <property fmtid="{D5CDD505-2E9C-101B-9397-08002B2CF9AE}" pid="5" name="ContentTypeId">
    <vt:lpwstr>0x0101007C4F6F202B989444B8E513D90358DBD5</vt:lpwstr>
  </property>
  <property fmtid="{D5CDD505-2E9C-101B-9397-08002B2CF9AE}" pid="6" name="MediaServiceImageTags">
    <vt:lpwstr/>
  </property>
</Properties>
</file>